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heme/theme3.xml" ContentType="application/vnd.openxmlformats-officedocument.theme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3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4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5.xml" ContentType="application/vnd.openxmlformats-officedocument.presentationml.notesSlide+xml"/>
  <Override PartName="/ppt/tags/tag61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  <p:sldMasterId id="2147483679" r:id="rId5"/>
  </p:sldMasterIdLst>
  <p:notesMasterIdLst>
    <p:notesMasterId r:id="rId45"/>
  </p:notesMasterIdLst>
  <p:sldIdLst>
    <p:sldId id="256" r:id="rId6"/>
    <p:sldId id="683" r:id="rId7"/>
    <p:sldId id="703" r:id="rId8"/>
    <p:sldId id="687" r:id="rId9"/>
    <p:sldId id="715" r:id="rId10"/>
    <p:sldId id="717" r:id="rId11"/>
    <p:sldId id="720" r:id="rId12"/>
    <p:sldId id="721" r:id="rId13"/>
    <p:sldId id="724" r:id="rId14"/>
    <p:sldId id="725" r:id="rId15"/>
    <p:sldId id="726" r:id="rId16"/>
    <p:sldId id="727" r:id="rId17"/>
    <p:sldId id="722" r:id="rId18"/>
    <p:sldId id="728" r:id="rId19"/>
    <p:sldId id="729" r:id="rId20"/>
    <p:sldId id="731" r:id="rId21"/>
    <p:sldId id="734" r:id="rId22"/>
    <p:sldId id="735" r:id="rId23"/>
    <p:sldId id="723" r:id="rId24"/>
    <p:sldId id="737" r:id="rId25"/>
    <p:sldId id="738" r:id="rId26"/>
    <p:sldId id="740" r:id="rId27"/>
    <p:sldId id="739" r:id="rId28"/>
    <p:sldId id="741" r:id="rId29"/>
    <p:sldId id="742" r:id="rId30"/>
    <p:sldId id="747" r:id="rId31"/>
    <p:sldId id="749" r:id="rId32"/>
    <p:sldId id="750" r:id="rId33"/>
    <p:sldId id="743" r:id="rId34"/>
    <p:sldId id="744" r:id="rId35"/>
    <p:sldId id="745" r:id="rId36"/>
    <p:sldId id="748" r:id="rId37"/>
    <p:sldId id="753" r:id="rId38"/>
    <p:sldId id="752" r:id="rId39"/>
    <p:sldId id="754" r:id="rId40"/>
    <p:sldId id="755" r:id="rId41"/>
    <p:sldId id="756" r:id="rId42"/>
    <p:sldId id="757" r:id="rId43"/>
    <p:sldId id="259" r:id="rId44"/>
  </p:sldIdLst>
  <p:sldSz cx="12192000" cy="6858000"/>
  <p:notesSz cx="6858000" cy="1828800"/>
  <p:custDataLst>
    <p:tags r:id="rId46"/>
  </p:custDataLst>
  <p:defaultTextStyle>
    <a:defPPr>
      <a:defRPr lang="nb-NO"/>
    </a:defPPr>
    <a:lvl1pPr marL="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1FB0B0F-BFB3-DA8A-0CC3-BD4F022828C6}" name="Thomas Haglund" initials="TH" userId="S::thomas.haglund@avoconsulting.no::401dfe14-3e50-4827-80eb-7c512f1e2a5f" providerId="AD"/>
  <p188:author id="{02782093-0DCA-C3D2-E816-04CBAEFADF29}" name="Carina Boom" initials="CB" userId="S::carinaboom@avoconsulting.no::f2414dc8-a51c-49dc-951e-1cc0aa74aadd" providerId="AD"/>
  <p188:author id="{D3FDC3C4-D914-B869-C525-08A2CDEC1A99}" name="Martin Myrestrand" initials="MM" userId="S::martin.myrestrand@avoconsulting.no::d2fb7ef8-5368-4011-bb23-8a727af21493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ED7D31"/>
    <a:srgbClr val="00AFBA"/>
    <a:srgbClr val="515151"/>
    <a:srgbClr val="6AA84F"/>
    <a:srgbClr val="EFEFEF"/>
    <a:srgbClr val="000000"/>
    <a:srgbClr val="F8F8F8"/>
    <a:srgbClr val="E7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50" d="100"/>
          <a:sy n="150" d="100"/>
        </p:scale>
        <p:origin x="654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presProps" Target="presProps.xml"/><Relationship Id="rId50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viewProps" Target="viewProps.xml"/><Relationship Id="rId8" Type="http://schemas.openxmlformats.org/officeDocument/2006/relationships/slide" Target="slides/slide3.xml"/><Relationship Id="rId51" Type="http://schemas.microsoft.com/office/2018/10/relationships/authors" Target="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tags" Target="tags/tag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85839A3-F658-43FE-ADCE-7FF1523E0074}" type="datetimeFigureOut">
              <a:rPr lang="nb-NO" smtClean="0"/>
              <a:t>29.11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E25077C-DBB0-4B43-941B-F61F30B2733F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07169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457200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864274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7116618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7412767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7646718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3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509734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E25077C-DBB0-4B43-941B-F61F30B2733F}" type="slidenum">
              <a:rPr lang="nb-NO" smtClean="0"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28776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5.png"/><Relationship Id="rId11" Type="http://schemas.openxmlformats.org/officeDocument/2006/relationships/image" Target="../media/image10.png"/><Relationship Id="rId5" Type="http://schemas.openxmlformats.org/officeDocument/2006/relationships/image" Target="../media/image4.emf"/><Relationship Id="rId10" Type="http://schemas.openxmlformats.org/officeDocument/2006/relationships/image" Target="../media/image9.png"/><Relationship Id="rId4" Type="http://schemas.openxmlformats.org/officeDocument/2006/relationships/oleObject" Target="../embeddings/oleObject2.bin"/><Relationship Id="rId9" Type="http://schemas.openxmlformats.org/officeDocument/2006/relationships/image" Target="../media/image8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2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2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2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24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5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12.pn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11.png"/><Relationship Id="rId11" Type="http://schemas.openxmlformats.org/officeDocument/2006/relationships/image" Target="../media/image16.png"/><Relationship Id="rId5" Type="http://schemas.openxmlformats.org/officeDocument/2006/relationships/image" Target="../media/image4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6.xml"/><Relationship Id="rId4" Type="http://schemas.openxmlformats.org/officeDocument/2006/relationships/image" Target="../media/image4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5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oleObject" Target="../embeddings/oleObject8.bin"/><Relationship Id="rId7" Type="http://schemas.openxmlformats.org/officeDocument/2006/relationships/image" Target="../media/image19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openxmlformats.org/officeDocument/2006/relationships/image" Target="../media/image18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4.emf"/><Relationship Id="rId9" Type="http://schemas.openxmlformats.org/officeDocument/2006/relationships/image" Target="../media/image21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4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slide ">
    <p:bg>
      <p:bgPr>
        <a:solidFill>
          <a:srgbClr val="061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C2038FC-CCE5-4CCA-B08A-138A32E054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129566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C2038FC-CCE5-4CCA-B08A-138A32E054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DF51B751-A0BA-4FF1-978B-4FC7D510509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52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" name="avo_black" descr="Et bilde som inneholder objekt&#10;&#10;Automatisk generert beskrivelse" hidden="1">
            <a:extLst>
              <a:ext uri="{FF2B5EF4-FFF2-40B4-BE49-F238E27FC236}">
                <a16:creationId xmlns:a16="http://schemas.microsoft.com/office/drawing/2014/main" id="{82E31913-B6F7-4859-81AD-8D96B0F24CEA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9036222" y="6413535"/>
            <a:ext cx="846221" cy="169277"/>
          </a:xfrm>
        </p:spPr>
        <p:txBody>
          <a:bodyPr/>
          <a:lstStyle>
            <a:lvl1pPr algn="l">
              <a:defRPr sz="1100">
                <a:solidFill>
                  <a:schemeClr val="lt1"/>
                </a:solidFill>
              </a:defRPr>
            </a:lvl1pPr>
          </a:lstStyle>
          <a:p>
            <a:fld id="{3D9F4894-0C37-4483-A40E-796D4022410E}" type="datetime1">
              <a:rPr lang="nb-NO" smtClean="0"/>
              <a:pPr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23FAD388-6E7F-48CB-80D4-651DC61FA7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057" y="5066393"/>
            <a:ext cx="7512152" cy="808042"/>
          </a:xfrm>
        </p:spPr>
        <p:txBody>
          <a:bodyPr/>
          <a:lstStyle>
            <a:lvl1pPr>
              <a:lnSpc>
                <a:spcPct val="100000"/>
              </a:lnSpc>
              <a:defRPr sz="5251">
                <a:solidFill>
                  <a:schemeClr val="lt1"/>
                </a:solidFill>
              </a:defRPr>
            </a:lvl1pPr>
          </a:lstStyle>
          <a:p>
            <a:r>
              <a:rPr lang="nb-NO"/>
              <a:t>Presentation </a:t>
            </a:r>
            <a:r>
              <a:rPr lang="nb-NO" err="1"/>
              <a:t>Name</a:t>
            </a:r>
            <a:endParaRPr lang="nb-NO"/>
          </a:p>
        </p:txBody>
      </p:sp>
      <p:sp>
        <p:nvSpPr>
          <p:cNvPr id="10" name="TekstSylinder 9">
            <a:extLst>
              <a:ext uri="{FF2B5EF4-FFF2-40B4-BE49-F238E27FC236}">
                <a16:creationId xmlns:a16="http://schemas.microsoft.com/office/drawing/2014/main" id="{CB095C0C-B2DB-4B49-AD39-B6341FC1A5B4}"/>
              </a:ext>
            </a:extLst>
          </p:cNvPr>
          <p:cNvSpPr txBox="1"/>
          <p:nvPr userDrawn="1"/>
        </p:nvSpPr>
        <p:spPr>
          <a:xfrm>
            <a:off x="9041744" y="379854"/>
            <a:ext cx="1010078" cy="1908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nb-NO" sz="1100" err="1">
                <a:solidFill>
                  <a:schemeClr val="lt1"/>
                </a:solidFill>
              </a:rPr>
              <a:t>Avo</a:t>
            </a:r>
            <a:r>
              <a:rPr lang="nb-NO" sz="1100">
                <a:solidFill>
                  <a:schemeClr val="lt1"/>
                </a:solidFill>
              </a:rPr>
              <a:t> </a:t>
            </a:r>
            <a:r>
              <a:rPr lang="nb-NO" sz="1100" err="1">
                <a:solidFill>
                  <a:schemeClr val="lt1"/>
                </a:solidFill>
              </a:rPr>
              <a:t>Consulting</a:t>
            </a:r>
            <a:endParaRPr lang="nb-NO" sz="1100">
              <a:solidFill>
                <a:schemeClr val="lt1"/>
              </a:solidFill>
            </a:endParaRPr>
          </a:p>
        </p:txBody>
      </p:sp>
      <p:sp>
        <p:nvSpPr>
          <p:cNvPr id="8" name="Plassholder for tekst 7">
            <a:extLst>
              <a:ext uri="{FF2B5EF4-FFF2-40B4-BE49-F238E27FC236}">
                <a16:creationId xmlns:a16="http://schemas.microsoft.com/office/drawing/2014/main" id="{BFE74C85-7D43-480F-99D2-CE4EBFA204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036222" y="3696148"/>
            <a:ext cx="1778921" cy="180690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1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 err="1"/>
              <a:t>Secondary</a:t>
            </a:r>
            <a:r>
              <a:rPr lang="nb-NO"/>
              <a:t> </a:t>
            </a:r>
            <a:r>
              <a:rPr lang="nb-NO" err="1"/>
              <a:t>Title</a:t>
            </a:r>
            <a:endParaRPr lang="nb-NO"/>
          </a:p>
        </p:txBody>
      </p:sp>
      <p:pic>
        <p:nvPicPr>
          <p:cNvPr id="9" name="avo_red">
            <a:extLst>
              <a:ext uri="{FF2B5EF4-FFF2-40B4-BE49-F238E27FC236}">
                <a16:creationId xmlns:a16="http://schemas.microsoft.com/office/drawing/2014/main" id="{EC298836-D116-4B0B-9410-9B0E9E1F2EE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5" name="avo_green" hidden="1">
            <a:extLst>
              <a:ext uri="{FF2B5EF4-FFF2-40B4-BE49-F238E27FC236}">
                <a16:creationId xmlns:a16="http://schemas.microsoft.com/office/drawing/2014/main" id="{32008912-5322-41A0-B117-7E23147E973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avo_oaker" hidden="1">
            <a:extLst>
              <a:ext uri="{FF2B5EF4-FFF2-40B4-BE49-F238E27FC236}">
                <a16:creationId xmlns:a16="http://schemas.microsoft.com/office/drawing/2014/main" id="{3D2A1F23-B104-4D81-973B-790E316C6271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avo_orange" hidden="1">
            <a:extLst>
              <a:ext uri="{FF2B5EF4-FFF2-40B4-BE49-F238E27FC236}">
                <a16:creationId xmlns:a16="http://schemas.microsoft.com/office/drawing/2014/main" id="{89355085-9C3F-4DE1-B49F-466E236A94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2" name="avo_pale" hidden="1">
            <a:extLst>
              <a:ext uri="{FF2B5EF4-FFF2-40B4-BE49-F238E27FC236}">
                <a16:creationId xmlns:a16="http://schemas.microsoft.com/office/drawing/2014/main" id="{04A24508-57E5-4E05-B714-7952DC8CEACF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12422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ys - stående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C42F464-29C3-499B-9718-9987C57E8D6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713892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C42F464-29C3-499B-9718-9987C57E8D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C1C0165F-AEC6-4161-B799-E66C83B140B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1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04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39" y="553771"/>
            <a:ext cx="3113909" cy="810000"/>
          </a:xfrm>
          <a:prstGeom prst="rect">
            <a:avLst/>
          </a:prstGeom>
        </p:spPr>
      </p:pic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accent3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2010147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lys - to liggende bil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A6F4AE6-A6A2-4FEF-9B1D-D31DC9097D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8395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A6F4AE6-A6A2-4FEF-9B1D-D31DC9097D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9A02E40D-4B3A-4B56-8C08-A16842B07F0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1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0462"/>
          </a:xfrm>
        </p:spPr>
        <p:txBody>
          <a:bodyPr lIns="0" tIns="0" rIns="0" bIns="0">
            <a:normAutofit/>
          </a:bodyPr>
          <a:lstStyle>
            <a:lvl1pPr marL="0" indent="0" algn="l"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7" name="Bild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39" y="553771"/>
            <a:ext cx="3113909" cy="810000"/>
          </a:xfrm>
          <a:prstGeom prst="rect">
            <a:avLst/>
          </a:prstGeom>
        </p:spPr>
      </p:pic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accent3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bilde 8"/>
          <p:cNvSpPr>
            <a:spLocks noGrp="1"/>
          </p:cNvSpPr>
          <p:nvPr>
            <p:ph type="pic" sz="quarter" idx="12" hasCustomPrompt="1"/>
          </p:nvPr>
        </p:nvSpPr>
        <p:spPr>
          <a:xfrm>
            <a:off x="7152000" y="347400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686430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0A0216AE-50D7-4981-9761-C6969EBC92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93068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0A0216AE-50D7-4981-9761-C6969EBC92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770776F-C6E1-4709-BFE0-C9D9F4711C2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27958683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mørk - liggende bil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A0BAD948-8C98-48E2-8829-0AAD8E263F8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010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A0BAD948-8C98-48E2-8829-0AAD8E263F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059AF5FD-5179-4174-A186-DFB70B20D37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619512" y="2054942"/>
            <a:ext cx="504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1619512" y="3718184"/>
            <a:ext cx="504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3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1619512" y="5596146"/>
            <a:ext cx="5040000" cy="908050"/>
          </a:xfrm>
        </p:spPr>
        <p:txBody>
          <a:bodyPr lIns="0" tIns="0" rIns="0" bIns="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500" b="0" i="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/>
              <a:t>Rediger tekststiler i malen</a:t>
            </a:r>
          </a:p>
        </p:txBody>
      </p:sp>
      <p:cxnSp>
        <p:nvCxnSpPr>
          <p:cNvPr id="5" name="Rett linje 4"/>
          <p:cNvCxnSpPr/>
          <p:nvPr userDrawn="1"/>
        </p:nvCxnSpPr>
        <p:spPr>
          <a:xfrm>
            <a:off x="1619512" y="5433342"/>
            <a:ext cx="421939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Bilde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140" y="537312"/>
            <a:ext cx="3113908" cy="810000"/>
          </a:xfrm>
          <a:prstGeom prst="rect">
            <a:avLst/>
          </a:prstGeom>
        </p:spPr>
      </p:pic>
      <p:sp>
        <p:nvSpPr>
          <p:cNvPr id="11" name="Plassholder for bilde 8"/>
          <p:cNvSpPr>
            <a:spLocks noGrp="1"/>
          </p:cNvSpPr>
          <p:nvPr>
            <p:ph type="pic" sz="quarter" idx="11" hasCustomPrompt="1"/>
          </p:nvPr>
        </p:nvSpPr>
        <p:spPr>
          <a:xfrm>
            <a:off x="7152000" y="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8" name="Plassholder for bilde 8"/>
          <p:cNvSpPr>
            <a:spLocks noGrp="1"/>
          </p:cNvSpPr>
          <p:nvPr>
            <p:ph type="pic" sz="quarter" idx="12" hasCustomPrompt="1"/>
          </p:nvPr>
        </p:nvSpPr>
        <p:spPr>
          <a:xfrm>
            <a:off x="7152000" y="3474000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4612269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n spalte med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F5211EB-35E0-4EAA-ADE7-5096F2F78A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20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4F5211EB-35E0-4EAA-ADE7-5096F2F78A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459F6561-A418-46EF-88BC-8D51F23E721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4" name="Rektangel 3"/>
          <p:cNvSpPr/>
          <p:nvPr userDrawn="1"/>
        </p:nvSpPr>
        <p:spPr>
          <a:xfrm>
            <a:off x="812602" y="1363946"/>
            <a:ext cx="10926000" cy="50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/>
              <a:t>  </a:t>
            </a:r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809427" y="1358552"/>
            <a:ext cx="10926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809427" y="1361080"/>
            <a:ext cx="1092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 marL="342900" indent="-342900">
              <a:lnSpc>
                <a:spcPct val="100000"/>
              </a:lnSpc>
              <a:buFont typeface=".AppleSystemUIFont" charset="-120"/>
              <a:buChar char="›"/>
              <a:defRPr sz="2000"/>
            </a:lvl1pPr>
            <a:lvl2pPr marL="6858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2pPr>
            <a:lvl3pPr marL="11430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3pPr>
            <a:lvl4pPr marL="16002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4pPr>
            <a:lvl5pPr marL="2057400" indent="-228600">
              <a:lnSpc>
                <a:spcPct val="100000"/>
              </a:lnSpc>
              <a:buFont typeface=".AppleSystemUIFont" charset="-120"/>
              <a:buChar char="›"/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2" name="Plassholder for bunntekst 2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3" name="Plassholder for lysbildenummer 2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63909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o spalter med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>
            <a:extLst>
              <a:ext uri="{FF2B5EF4-FFF2-40B4-BE49-F238E27FC236}">
                <a16:creationId xmlns:a16="http://schemas.microsoft.com/office/drawing/2014/main" id="{EA8BB7A9-7910-4858-AF3B-61F0987E30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79760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9" name="Objekt 8" hidden="1">
                        <a:extLst>
                          <a:ext uri="{FF2B5EF4-FFF2-40B4-BE49-F238E27FC236}">
                            <a16:creationId xmlns:a16="http://schemas.microsoft.com/office/drawing/2014/main" id="{EA8BB7A9-7910-4858-AF3B-61F0987E30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06BAB7EC-D825-4EA2-9547-5B856C97BF6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4" name="Rektangel 3"/>
          <p:cNvSpPr/>
          <p:nvPr userDrawn="1"/>
        </p:nvSpPr>
        <p:spPr>
          <a:xfrm>
            <a:off x="810594" y="1352959"/>
            <a:ext cx="5256000" cy="50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/>
              <a:t>  </a:t>
            </a:r>
          </a:p>
        </p:txBody>
      </p:sp>
      <p:sp>
        <p:nvSpPr>
          <p:cNvPr id="11" name="Rektangel 10"/>
          <p:cNvSpPr/>
          <p:nvPr userDrawn="1"/>
        </p:nvSpPr>
        <p:spPr>
          <a:xfrm>
            <a:off x="6480905" y="1351536"/>
            <a:ext cx="5256000" cy="5058000"/>
          </a:xfrm>
          <a:prstGeom prst="rect">
            <a:avLst/>
          </a:prstGeom>
          <a:solidFill>
            <a:schemeClr val="bg1">
              <a:lumMod val="95000"/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nb-NO"/>
              <a:t>  </a:t>
            </a:r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809427" y="1362845"/>
            <a:ext cx="5256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>
            <a:normAutofit/>
          </a:bodyPr>
          <a:lstStyle>
            <a:lvl1pPr algn="l">
              <a:lnSpc>
                <a:spcPct val="100000"/>
              </a:lnSpc>
              <a:defRPr sz="28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802127" y="1364110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2" hasCustomPrompt="1"/>
          </p:nvPr>
        </p:nvSpPr>
        <p:spPr>
          <a:xfrm>
            <a:off x="6491935" y="1347919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defRPr sz="2000"/>
            </a:lvl1pPr>
            <a:lvl2pPr>
              <a:defRPr sz="2000">
                <a:latin typeface="+mn-lt"/>
              </a:defRPr>
            </a:lvl2pPr>
            <a:lvl3pPr>
              <a:defRPr sz="2000">
                <a:latin typeface="+mn-lt"/>
              </a:defRPr>
            </a:lvl3pPr>
            <a:lvl4pPr>
              <a:defRPr sz="2000">
                <a:latin typeface="+mn-lt"/>
              </a:defRPr>
            </a:lvl4pPr>
            <a:lvl5pPr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cxnSp>
        <p:nvCxnSpPr>
          <p:cNvPr id="17" name="Rett linje 16"/>
          <p:cNvCxnSpPr/>
          <p:nvPr userDrawn="1"/>
        </p:nvCxnSpPr>
        <p:spPr>
          <a:xfrm>
            <a:off x="6472438" y="1361941"/>
            <a:ext cx="5256000" cy="0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lassholder for bunntekst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89103894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lys - stående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0BA7FC8-1639-40E0-9FB4-1A7E59356D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95979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0BA7FC8-1639-40E0-9FB4-1A7E59356D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B6DF9823-9174-4B7B-ABB9-FD4E16F68F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lassholder for bilde 8"/>
          <p:cNvSpPr>
            <a:spLocks noGrp="1"/>
          </p:cNvSpPr>
          <p:nvPr>
            <p:ph type="pic" sz="quarter" idx="12" hasCustomPrompt="1"/>
          </p:nvPr>
        </p:nvSpPr>
        <p:spPr>
          <a:xfrm>
            <a:off x="6252000" y="5495"/>
            <a:ext cx="5940000" cy="685250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4914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48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58136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mørk - stående 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85568B56-192B-4472-8031-4C0819804B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498786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85568B56-192B-4472-8031-4C0819804B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EB4A53DC-42D6-47DA-99FD-4CF7E3B753D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Plassholder for bilde 8"/>
          <p:cNvSpPr>
            <a:spLocks noGrp="1"/>
          </p:cNvSpPr>
          <p:nvPr>
            <p:ph type="pic" sz="quarter" idx="12" hasCustomPrompt="1"/>
          </p:nvPr>
        </p:nvSpPr>
        <p:spPr>
          <a:xfrm>
            <a:off x="6252000" y="5495"/>
            <a:ext cx="5940000" cy="685250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sp>
        <p:nvSpPr>
          <p:cNvPr id="7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4914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48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cxnSp>
        <p:nvCxnSpPr>
          <p:cNvPr id="9" name="Rett linje 8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38194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lys - to liggende bild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E808C2B-3F93-4E17-B193-6C93DF2CAF7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67866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E808C2B-3F93-4E17-B193-6C93DF2CAF7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79E5A8B1-A368-483B-81D1-F6E24453DC1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576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7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5" name="Plassholder for bilde 8"/>
          <p:cNvSpPr>
            <a:spLocks noGrp="1"/>
          </p:cNvSpPr>
          <p:nvPr>
            <p:ph type="pic" sz="quarter" idx="12" hasCustomPrompt="1"/>
          </p:nvPr>
        </p:nvSpPr>
        <p:spPr>
          <a:xfrm>
            <a:off x="7152000" y="5495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3" hasCustomPrompt="1"/>
          </p:nvPr>
        </p:nvSpPr>
        <p:spPr>
          <a:xfrm>
            <a:off x="7152000" y="3468783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16728404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killeside mørk - to liggende bil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0F94F11-70CE-483F-9808-108165484C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67210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0F94F11-70CE-483F-9808-108165484C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2A78F470-132F-42DD-9D47-24BD1D604C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809426" y="1879389"/>
            <a:ext cx="5760000" cy="1258529"/>
          </a:xfrm>
        </p:spPr>
        <p:txBody>
          <a:bodyPr lIns="0" tIns="0" rIns="0" bIns="0" anchor="b">
            <a:normAutofit/>
          </a:bodyPr>
          <a:lstStyle>
            <a:lvl1pPr algn="l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760000" cy="1051200"/>
          </a:xfrm>
        </p:spPr>
        <p:txBody>
          <a:bodyPr lIns="0" tIns="0" rIns="0" bIns="0">
            <a:normAutofit/>
          </a:bodyPr>
          <a:lstStyle>
            <a:lvl1pPr marL="0" indent="0" algn="l">
              <a:lnSpc>
                <a:spcPct val="100000"/>
              </a:lnSpc>
              <a:buNone/>
              <a:defRPr sz="22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5" name="Plassholder for bilde 8"/>
          <p:cNvSpPr>
            <a:spLocks noGrp="1"/>
          </p:cNvSpPr>
          <p:nvPr>
            <p:ph type="pic" sz="quarter" idx="12" hasCustomPrompt="1"/>
          </p:nvPr>
        </p:nvSpPr>
        <p:spPr>
          <a:xfrm>
            <a:off x="7152000" y="5495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809427" y="3434389"/>
            <a:ext cx="42193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bilde 8"/>
          <p:cNvSpPr>
            <a:spLocks noGrp="1"/>
          </p:cNvSpPr>
          <p:nvPr>
            <p:ph type="pic" sz="quarter" idx="13" hasCustomPrompt="1"/>
          </p:nvPr>
        </p:nvSpPr>
        <p:spPr>
          <a:xfrm>
            <a:off x="7152000" y="3468783"/>
            <a:ext cx="5040000" cy="3384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365693090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ew chapter">
    <p:bg>
      <p:bgPr>
        <a:solidFill>
          <a:srgbClr val="061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47852076-9139-49B5-B2C4-47F2D37449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4615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47852076-9139-49B5-B2C4-47F2D37449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44036340-0210-4E0C-98CB-F6AB3FE744E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" name="avo_black" hidden="1">
            <a:extLst>
              <a:ext uri="{FF2B5EF4-FFF2-40B4-BE49-F238E27FC236}">
                <a16:creationId xmlns:a16="http://schemas.microsoft.com/office/drawing/2014/main" id="{F0B2C3EC-4E3B-4469-BD15-794E485376A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35C512DB-B115-4C0F-BFCE-4D95378C569A}" type="datetime1">
              <a:rPr lang="nb-NO" smtClean="0"/>
              <a:pPr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6">
            <a:extLst>
              <a:ext uri="{FF2B5EF4-FFF2-40B4-BE49-F238E27FC236}">
                <a16:creationId xmlns:a16="http://schemas.microsoft.com/office/drawing/2014/main" id="{23FAD388-6E7F-48CB-80D4-651DC61FA7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9057" y="3170668"/>
            <a:ext cx="4439467" cy="577209"/>
          </a:xfrm>
        </p:spPr>
        <p:txBody>
          <a:bodyPr anchor="ctr" anchorCtr="0"/>
          <a:lstStyle>
            <a:lvl1pPr>
              <a:lnSpc>
                <a:spcPct val="100000"/>
              </a:lnSpc>
              <a:defRPr sz="3751">
                <a:solidFill>
                  <a:schemeClr val="lt1"/>
                </a:solidFill>
              </a:defRPr>
            </a:lvl1pPr>
          </a:lstStyle>
          <a:p>
            <a:r>
              <a:rPr lang="nb-NO"/>
              <a:t>Chapter </a:t>
            </a:r>
            <a:r>
              <a:rPr lang="nb-NO" err="1"/>
              <a:t>Title</a:t>
            </a:r>
            <a:endParaRPr lang="nb-NO"/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EB0B875-19D0-430D-802D-A000DF9B66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9296" y="381044"/>
            <a:ext cx="3664427" cy="246346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5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Chapter </a:t>
            </a:r>
            <a:r>
              <a:rPr lang="nb-NO" err="1"/>
              <a:t>description</a:t>
            </a:r>
            <a:endParaRPr lang="nb-NO"/>
          </a:p>
        </p:txBody>
      </p:sp>
      <p:pic>
        <p:nvPicPr>
          <p:cNvPr id="9" name="avo_red" descr="Et bilde som inneholder objekt&#10;&#10;Automatisk generert beskrivelse">
            <a:extLst>
              <a:ext uri="{FF2B5EF4-FFF2-40B4-BE49-F238E27FC236}">
                <a16:creationId xmlns:a16="http://schemas.microsoft.com/office/drawing/2014/main" id="{026231C0-1955-439C-829F-7BAC2669CD0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avo_green" hidden="1">
            <a:extLst>
              <a:ext uri="{FF2B5EF4-FFF2-40B4-BE49-F238E27FC236}">
                <a16:creationId xmlns:a16="http://schemas.microsoft.com/office/drawing/2014/main" id="{10C710DA-FA0B-4698-8DE8-DE4675B1AEB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6" name="avo_oaker" hidden="1">
            <a:extLst>
              <a:ext uri="{FF2B5EF4-FFF2-40B4-BE49-F238E27FC236}">
                <a16:creationId xmlns:a16="http://schemas.microsoft.com/office/drawing/2014/main" id="{5E776034-2B4E-4ED0-93A6-72181D144308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0" name="avo_orange" hidden="1">
            <a:extLst>
              <a:ext uri="{FF2B5EF4-FFF2-40B4-BE49-F238E27FC236}">
                <a16:creationId xmlns:a16="http://schemas.microsoft.com/office/drawing/2014/main" id="{7A9E7A98-718F-4491-8D1A-FFF1971105F8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2" name="avo_pale" hidden="1">
            <a:extLst>
              <a:ext uri="{FF2B5EF4-FFF2-40B4-BE49-F238E27FC236}">
                <a16:creationId xmlns:a16="http://schemas.microsoft.com/office/drawing/2014/main" id="{0822CEF3-4A68-49C7-BC82-6459A1A1C345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92742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En spalte uten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1396094-FCE4-4E5C-823A-00374DC83A7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914243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1396094-FCE4-4E5C-823A-00374DC83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F7AE25EF-B779-46D0-BAD1-EADE7E32799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809976" y="1354730"/>
            <a:ext cx="10926000" cy="5058000"/>
          </a:xfrm>
          <a:noFill/>
          <a:ln>
            <a:noFill/>
          </a:ln>
        </p:spPr>
        <p:txBody>
          <a:bodyPr lIns="0" tIns="0" rIns="0" bIns="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597177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o spalter uten bakgru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DCE5E346-98CF-45E9-A496-79C81F8C90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0664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DCE5E346-98CF-45E9-A496-79C81F8C90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9D5F0CBA-72D4-4353-8DD8-472F684787F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uppe 11"/>
          <p:cNvGrpSpPr>
            <a:grpSpLocks noChangeAspect="1"/>
          </p:cNvGrpSpPr>
          <p:nvPr userDrawn="1"/>
        </p:nvGrpSpPr>
        <p:grpSpPr>
          <a:xfrm>
            <a:off x="279820" y="6504062"/>
            <a:ext cx="250360" cy="218504"/>
            <a:chOff x="5122863" y="2579688"/>
            <a:chExt cx="1946276" cy="1698625"/>
          </a:xfrm>
          <a:solidFill>
            <a:schemeClr val="bg2"/>
          </a:solidFill>
        </p:grpSpPr>
        <p:sp>
          <p:nvSpPr>
            <p:cNvPr id="13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14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  <p:sp>
        <p:nvSpPr>
          <p:cNvPr id="20" name="Plassholder for bunntekst 1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1" name="Plassholder for lysbildenummer 2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809047" y="1352020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2" hasCustomPrompt="1"/>
          </p:nvPr>
        </p:nvSpPr>
        <p:spPr>
          <a:xfrm>
            <a:off x="6479976" y="1347919"/>
            <a:ext cx="5256000" cy="5058000"/>
          </a:xfrm>
          <a:noFill/>
          <a:ln>
            <a:noFill/>
          </a:ln>
        </p:spPr>
        <p:txBody>
          <a:bodyPr lIns="180000" tIns="180000" rIns="180000" bIns="180000">
            <a:norm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>
                <a:latin typeface="+mn-lt"/>
              </a:defRPr>
            </a:lvl2pPr>
            <a:lvl3pPr>
              <a:lnSpc>
                <a:spcPct val="100000"/>
              </a:lnSpc>
              <a:defRPr sz="2000">
                <a:latin typeface="+mn-lt"/>
              </a:defRPr>
            </a:lvl3pPr>
            <a:lvl4pPr>
              <a:lnSpc>
                <a:spcPct val="100000"/>
              </a:lnSpc>
              <a:defRPr sz="2000">
                <a:latin typeface="+mn-lt"/>
              </a:defRPr>
            </a:lvl4pPr>
            <a:lvl5pPr>
              <a:lnSpc>
                <a:spcPct val="100000"/>
              </a:lnSpc>
              <a:defRPr sz="2000">
                <a:latin typeface="+mn-lt"/>
              </a:defRPr>
            </a:lvl5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  <p:extLst>
      <p:ext uri="{BB962C8B-B14F-4D97-AF65-F5344CB8AC3E}">
        <p14:creationId xmlns:p14="http://schemas.microsoft.com/office/powerpoint/2010/main" val="23635659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574783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s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E7E905E5-9D84-43E8-A706-7D773588A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19821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E7E905E5-9D84-43E8-A706-7D773588A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ssholder for bilde 6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4331499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e lys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26BC5695-DD47-4D98-A275-47DB902899F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631953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26BC5695-DD47-4D98-A275-47DB902899F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05D2435F-06CE-40CA-8690-E08EE974EF2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2856000" y="5755342"/>
            <a:ext cx="6480000" cy="360000"/>
          </a:xfrm>
        </p:spPr>
        <p:txBody>
          <a:bodyPr lIns="0" tIns="0" rIns="0" bIns="0" anchor="b">
            <a:normAutofit/>
          </a:bodyPr>
          <a:lstStyle>
            <a:lvl1pPr algn="ctr">
              <a:lnSpc>
                <a:spcPct val="100000"/>
              </a:lnSpc>
              <a:defRPr sz="2800" b="0">
                <a:solidFill>
                  <a:schemeClr val="tx2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3" name="Gruppe 2"/>
          <p:cNvGrpSpPr>
            <a:grpSpLocks noChangeAspect="1"/>
          </p:cNvGrpSpPr>
          <p:nvPr userDrawn="1"/>
        </p:nvGrpSpPr>
        <p:grpSpPr>
          <a:xfrm>
            <a:off x="3774141" y="1039515"/>
            <a:ext cx="4643718" cy="4052830"/>
            <a:chOff x="5122863" y="2579688"/>
            <a:chExt cx="1946276" cy="1698625"/>
          </a:xfrm>
          <a:solidFill>
            <a:schemeClr val="accent1"/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6325663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side mørk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B3CF45BB-BFBE-4711-9D24-BB7EF0E90FC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020858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B3CF45BB-BFBE-4711-9D24-BB7EF0E90FC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5A582D6B-58E3-4796-8E35-7274615C56B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ittel 1"/>
          <p:cNvSpPr>
            <a:spLocks noGrp="1"/>
          </p:cNvSpPr>
          <p:nvPr>
            <p:ph type="ctrTitle"/>
          </p:nvPr>
        </p:nvSpPr>
        <p:spPr>
          <a:xfrm>
            <a:off x="2856000" y="5755342"/>
            <a:ext cx="6480000" cy="360000"/>
          </a:xfrm>
        </p:spPr>
        <p:txBody>
          <a:bodyPr lIns="0" tIns="0" rIns="0" bIns="0" anchor="b">
            <a:normAutofit/>
          </a:bodyPr>
          <a:lstStyle>
            <a:lvl1pPr algn="ctr">
              <a:lnSpc>
                <a:spcPct val="100000"/>
              </a:lnSpc>
              <a:defRPr sz="2800" b="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grpSp>
        <p:nvGrpSpPr>
          <p:cNvPr id="3" name="Gruppe 2"/>
          <p:cNvGrpSpPr>
            <a:grpSpLocks noChangeAspect="1"/>
          </p:cNvGrpSpPr>
          <p:nvPr userDrawn="1"/>
        </p:nvGrpSpPr>
        <p:grpSpPr>
          <a:xfrm>
            <a:off x="3774141" y="1039515"/>
            <a:ext cx="4643718" cy="4052830"/>
            <a:chOff x="5122863" y="2579688"/>
            <a:chExt cx="1946276" cy="1698625"/>
          </a:xfrm>
          <a:solidFill>
            <a:schemeClr val="accent1"/>
          </a:solidFill>
        </p:grpSpPr>
        <p:sp>
          <p:nvSpPr>
            <p:cNvPr id="4" name="Freeform 5"/>
            <p:cNvSpPr>
              <a:spLocks/>
            </p:cNvSpPr>
            <p:nvPr/>
          </p:nvSpPr>
          <p:spPr bwMode="auto">
            <a:xfrm>
              <a:off x="5122863" y="2579688"/>
              <a:ext cx="554038" cy="747713"/>
            </a:xfrm>
            <a:custGeom>
              <a:avLst/>
              <a:gdLst>
                <a:gd name="T0" fmla="*/ 164 w 349"/>
                <a:gd name="T1" fmla="*/ 0 h 471"/>
                <a:gd name="T2" fmla="*/ 0 w 349"/>
                <a:gd name="T3" fmla="*/ 0 h 471"/>
                <a:gd name="T4" fmla="*/ 271 w 349"/>
                <a:gd name="T5" fmla="*/ 471 h 471"/>
                <a:gd name="T6" fmla="*/ 349 w 349"/>
                <a:gd name="T7" fmla="*/ 328 h 471"/>
                <a:gd name="T8" fmla="*/ 164 w 349"/>
                <a:gd name="T9" fmla="*/ 0 h 4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9" h="471">
                  <a:moveTo>
                    <a:pt x="164" y="0"/>
                  </a:moveTo>
                  <a:lnTo>
                    <a:pt x="0" y="0"/>
                  </a:lnTo>
                  <a:lnTo>
                    <a:pt x="271" y="471"/>
                  </a:lnTo>
                  <a:lnTo>
                    <a:pt x="349" y="328"/>
                  </a:lnTo>
                  <a:lnTo>
                    <a:pt x="16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5756276" y="2579688"/>
              <a:ext cx="1312863" cy="1698625"/>
            </a:xfrm>
            <a:custGeom>
              <a:avLst/>
              <a:gdLst>
                <a:gd name="T0" fmla="*/ 406 w 827"/>
                <a:gd name="T1" fmla="*/ 0 h 1070"/>
                <a:gd name="T2" fmla="*/ 86 w 827"/>
                <a:gd name="T3" fmla="*/ 564 h 1070"/>
                <a:gd name="T4" fmla="*/ 0 w 827"/>
                <a:gd name="T5" fmla="*/ 699 h 1070"/>
                <a:gd name="T6" fmla="*/ 214 w 827"/>
                <a:gd name="T7" fmla="*/ 1070 h 1070"/>
                <a:gd name="T8" fmla="*/ 827 w 827"/>
                <a:gd name="T9" fmla="*/ 0 h 1070"/>
                <a:gd name="T10" fmla="*/ 406 w 827"/>
                <a:gd name="T11" fmla="*/ 0 h 10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27" h="1070">
                  <a:moveTo>
                    <a:pt x="406" y="0"/>
                  </a:moveTo>
                  <a:lnTo>
                    <a:pt x="86" y="564"/>
                  </a:lnTo>
                  <a:lnTo>
                    <a:pt x="0" y="699"/>
                  </a:lnTo>
                  <a:lnTo>
                    <a:pt x="214" y="1070"/>
                  </a:lnTo>
                  <a:lnTo>
                    <a:pt x="827" y="0"/>
                  </a:lnTo>
                  <a:lnTo>
                    <a:pt x="40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3330015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CE8F8329-3106-40AD-8482-4BB47D832AE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82989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CE8F8329-3106-40AD-8482-4BB47D832A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4DCA8FEE-EB58-4D5F-AD58-D3D53F84F7D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49056" y="1584000"/>
            <a:ext cx="11493647" cy="4551525"/>
          </a:xfrm>
        </p:spPr>
        <p:txBody>
          <a:bodyPr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0B94-EB1F-44DD-9460-95E3A065F1E2}" type="datetime1">
              <a:rPr lang="nb-NO" smtClean="0"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716852" y="6413535"/>
            <a:ext cx="125852" cy="123125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1376B6C9-63F1-45C5-A3E9-5F2BD2178C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9296" y="165600"/>
            <a:ext cx="3664427" cy="2627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/>
              <a:t>Chapter </a:t>
            </a:r>
            <a:r>
              <a:rPr lang="nb-NO" err="1"/>
              <a:t>description</a:t>
            </a:r>
            <a:endParaRPr lang="nb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37E1DB82-BE41-4119-B364-BC8E2E8099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295" y="1209600"/>
            <a:ext cx="11493647" cy="280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5" name="avo_textColor" hidden="1">
            <a:extLst>
              <a:ext uri="{FF2B5EF4-FFF2-40B4-BE49-F238E27FC236}">
                <a16:creationId xmlns:a16="http://schemas.microsoft.com/office/drawing/2014/main" id="{C95603EE-E8FC-4874-8FF8-C364D871AAFE}"/>
              </a:ext>
            </a:extLst>
          </p:cNvPr>
          <p:cNvSpPr/>
          <p:nvPr userDrawn="1"/>
        </p:nvSpPr>
        <p:spPr>
          <a:xfrm>
            <a:off x="349057" y="-352926"/>
            <a:ext cx="1728396" cy="2434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ADED5242-F964-494B-927A-3A1F290D9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28" y="447756"/>
            <a:ext cx="11493647" cy="519433"/>
          </a:xfrm>
        </p:spPr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</p:spTree>
    <p:extLst>
      <p:ext uri="{BB962C8B-B14F-4D97-AF65-F5344CB8AC3E}">
        <p14:creationId xmlns:p14="http://schemas.microsoft.com/office/powerpoint/2010/main" val="8447768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27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>
            <a:extLst>
              <a:ext uri="{FF2B5EF4-FFF2-40B4-BE49-F238E27FC236}">
                <a16:creationId xmlns:a16="http://schemas.microsoft.com/office/drawing/2014/main" id="{45F81565-8E42-41D9-BEE9-CF828FF7B7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021284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3" name="Objekt 12" hidden="1">
                        <a:extLst>
                          <a:ext uri="{FF2B5EF4-FFF2-40B4-BE49-F238E27FC236}">
                            <a16:creationId xmlns:a16="http://schemas.microsoft.com/office/drawing/2014/main" id="{45F81565-8E42-41D9-BEE9-CF828FF7B7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1" hidden="1">
            <a:extLst>
              <a:ext uri="{FF2B5EF4-FFF2-40B4-BE49-F238E27FC236}">
                <a16:creationId xmlns:a16="http://schemas.microsoft.com/office/drawing/2014/main" id="{E191B5B3-4A9D-4214-B22F-D0DBBC9EBBC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49057" y="1584000"/>
            <a:ext cx="5570310" cy="4551525"/>
          </a:xfrm>
        </p:spPr>
        <p:txBody>
          <a:bodyPr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250B94-EB1F-44DD-9460-95E3A065F1E2}" type="datetime1">
              <a:rPr lang="nb-NO" smtClean="0"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716852" y="6413535"/>
            <a:ext cx="125852" cy="123125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1376B6C9-63F1-45C5-A3E9-5F2BD2178C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9296" y="165600"/>
            <a:ext cx="3664427" cy="2627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/>
              <a:t>Chapter </a:t>
            </a:r>
            <a:r>
              <a:rPr lang="nb-NO" err="1"/>
              <a:t>description</a:t>
            </a:r>
            <a:endParaRPr lang="nb-NO"/>
          </a:p>
        </p:txBody>
      </p:sp>
      <p:sp>
        <p:nvSpPr>
          <p:cNvPr id="9" name="Plassholder for tekst 8">
            <a:extLst>
              <a:ext uri="{FF2B5EF4-FFF2-40B4-BE49-F238E27FC236}">
                <a16:creationId xmlns:a16="http://schemas.microsoft.com/office/drawing/2014/main" id="{37E1DB82-BE41-4119-B364-BC8E2E80998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9296" y="1209600"/>
            <a:ext cx="5570310" cy="280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1003C600-AEFC-4271-825F-229E180C026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2395" y="1584000"/>
            <a:ext cx="5570310" cy="4551525"/>
          </a:xfrm>
        </p:spPr>
        <p:txBody>
          <a:bodyPr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11" name="Plassholder for tekst 8">
            <a:extLst>
              <a:ext uri="{FF2B5EF4-FFF2-40B4-BE49-F238E27FC236}">
                <a16:creationId xmlns:a16="http://schemas.microsoft.com/office/drawing/2014/main" id="{A69C89E5-FC58-4815-98A5-E2D700A9D35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72633" y="1209600"/>
            <a:ext cx="5570310" cy="28080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</p:txBody>
      </p:sp>
      <p:sp>
        <p:nvSpPr>
          <p:cNvPr id="5" name="avo_textColor" hidden="1">
            <a:extLst>
              <a:ext uri="{FF2B5EF4-FFF2-40B4-BE49-F238E27FC236}">
                <a16:creationId xmlns:a16="http://schemas.microsoft.com/office/drawing/2014/main" id="{C95603EE-E8FC-4874-8FF8-C364D871AAFE}"/>
              </a:ext>
            </a:extLst>
          </p:cNvPr>
          <p:cNvSpPr/>
          <p:nvPr userDrawn="1"/>
        </p:nvSpPr>
        <p:spPr>
          <a:xfrm>
            <a:off x="349057" y="-352926"/>
            <a:ext cx="1728396" cy="2434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Tittel 7">
            <a:extLst>
              <a:ext uri="{FF2B5EF4-FFF2-40B4-BE49-F238E27FC236}">
                <a16:creationId xmlns:a16="http://schemas.microsoft.com/office/drawing/2014/main" id="{ADED5242-F964-494B-927A-3A1F290D98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7628" y="447756"/>
            <a:ext cx="11493647" cy="519433"/>
          </a:xfrm>
        </p:spPr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12" name="avo_textColor" hidden="1">
            <a:extLst>
              <a:ext uri="{FF2B5EF4-FFF2-40B4-BE49-F238E27FC236}">
                <a16:creationId xmlns:a16="http://schemas.microsoft.com/office/drawing/2014/main" id="{8C6E0E9B-24F4-408B-8266-E85020290FF7}"/>
              </a:ext>
            </a:extLst>
          </p:cNvPr>
          <p:cNvSpPr/>
          <p:nvPr userDrawn="1"/>
        </p:nvSpPr>
        <p:spPr>
          <a:xfrm>
            <a:off x="501457" y="-200526"/>
            <a:ext cx="1728396" cy="2434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605417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edia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>
            <a:extLst>
              <a:ext uri="{FF2B5EF4-FFF2-40B4-BE49-F238E27FC236}">
                <a16:creationId xmlns:a16="http://schemas.microsoft.com/office/drawing/2014/main" id="{84789C54-9C67-453D-9A8F-C83811B7F4E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951346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12" name="Objekt 11" hidden="1">
                        <a:extLst>
                          <a:ext uri="{FF2B5EF4-FFF2-40B4-BE49-F238E27FC236}">
                            <a16:creationId xmlns:a16="http://schemas.microsoft.com/office/drawing/2014/main" id="{84789C54-9C67-453D-9A8F-C83811B7F4E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ktangel 8" hidden="1">
            <a:extLst>
              <a:ext uri="{FF2B5EF4-FFF2-40B4-BE49-F238E27FC236}">
                <a16:creationId xmlns:a16="http://schemas.microsoft.com/office/drawing/2014/main" id="{9D01C5FD-1028-4CFF-BE0C-7E386734FDA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327628" y="447756"/>
            <a:ext cx="11493648" cy="519433"/>
          </a:xfrm>
        </p:spPr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>
          <a:xfrm>
            <a:off x="349057" y="3860800"/>
            <a:ext cx="5570310" cy="2274725"/>
          </a:xfrm>
        </p:spPr>
        <p:txBody>
          <a:bodyPr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E303901-42CA-47F9-B815-3BA4B7B883A9}" type="datetime1">
              <a:rPr lang="nb-NO" smtClean="0"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716853" y="6413535"/>
            <a:ext cx="125852" cy="123125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1376B6C9-63F1-45C5-A3E9-5F2BD2178C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9296" y="165600"/>
            <a:ext cx="3664427" cy="2627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/>
              <a:t>Chapter </a:t>
            </a:r>
            <a:r>
              <a:rPr lang="nb-NO" err="1"/>
              <a:t>description</a:t>
            </a:r>
            <a:endParaRPr lang="nb-NO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1003C600-AEFC-4271-825F-229E180C026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272395" y="3860800"/>
            <a:ext cx="5570310" cy="2274725"/>
          </a:xfrm>
        </p:spPr>
        <p:txBody>
          <a:bodyPr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2D49B1B-5EC4-4436-8012-C85F6689B3DD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72633" y="1578004"/>
            <a:ext cx="5570310" cy="20035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CD4E54B4-0205-4D1F-A3C5-E434946E595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9296" y="1584000"/>
            <a:ext cx="5570310" cy="200356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11" name="avo_textColor" hidden="1">
            <a:extLst>
              <a:ext uri="{FF2B5EF4-FFF2-40B4-BE49-F238E27FC236}">
                <a16:creationId xmlns:a16="http://schemas.microsoft.com/office/drawing/2014/main" id="{5A5B5736-ACC8-44B2-996E-037C12FC9B20}"/>
              </a:ext>
            </a:extLst>
          </p:cNvPr>
          <p:cNvSpPr/>
          <p:nvPr userDrawn="1"/>
        </p:nvSpPr>
        <p:spPr>
          <a:xfrm>
            <a:off x="349057" y="-352926"/>
            <a:ext cx="1728396" cy="2434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0390757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Media (left aligned)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8392025-FBFF-4F61-9036-5D0FFA600E3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8720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8392025-FBFF-4F61-9036-5D0FFA600E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ktangel 2" hidden="1">
            <a:extLst>
              <a:ext uri="{FF2B5EF4-FFF2-40B4-BE49-F238E27FC236}">
                <a16:creationId xmlns:a16="http://schemas.microsoft.com/office/drawing/2014/main" id="{DC15C3BF-6E89-49B7-9A65-300F3FB5B1F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7212901" y="1117873"/>
            <a:ext cx="4629804" cy="1039002"/>
          </a:xfrm>
        </p:spPr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1343AB-5FED-462A-8D0D-95212EC85779}" type="datetime1">
              <a:rPr lang="nb-NO" smtClean="0"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716853" y="6413535"/>
            <a:ext cx="125852" cy="123125"/>
          </a:xfrm>
        </p:spPr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1376B6C9-63F1-45C5-A3E9-5F2BD2178C7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12901" y="381044"/>
            <a:ext cx="3664427" cy="2627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>
                <a:solidFill>
                  <a:srgbClr val="E54F4F"/>
                </a:solidFill>
              </a:defRPr>
            </a:lvl1pPr>
          </a:lstStyle>
          <a:p>
            <a:pPr lvl="0"/>
            <a:r>
              <a:rPr lang="nb-NO"/>
              <a:t>Chapter </a:t>
            </a:r>
            <a:r>
              <a:rPr lang="nb-NO" err="1"/>
              <a:t>description</a:t>
            </a:r>
            <a:endParaRPr lang="nb-NO"/>
          </a:p>
        </p:txBody>
      </p:sp>
      <p:sp>
        <p:nvSpPr>
          <p:cNvPr id="10" name="Plassholder for innhold 2">
            <a:extLst>
              <a:ext uri="{FF2B5EF4-FFF2-40B4-BE49-F238E27FC236}">
                <a16:creationId xmlns:a16="http://schemas.microsoft.com/office/drawing/2014/main" id="{1003C600-AEFC-4271-825F-229E180C026F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7212901" y="4071026"/>
            <a:ext cx="4629804" cy="2064499"/>
          </a:xfrm>
        </p:spPr>
        <p:txBody>
          <a:bodyPr anchor="b" anchorCtr="0"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CD4E54B4-0205-4D1F-A3C5-E434946E595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349295" y="388022"/>
            <a:ext cx="6509598" cy="574750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rIns="0" bIns="0"/>
          <a:lstStyle/>
          <a:p>
            <a:pPr lvl="0"/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ext</a:t>
            </a:r>
            <a:r>
              <a:rPr lang="nb-NO"/>
              <a:t> styles</a:t>
            </a:r>
          </a:p>
          <a:p>
            <a:pPr lvl="1"/>
            <a:r>
              <a:rPr lang="nb-NO"/>
              <a:t>Second </a:t>
            </a:r>
            <a:r>
              <a:rPr lang="nb-NO" err="1"/>
              <a:t>level</a:t>
            </a:r>
            <a:endParaRPr lang="nb-NO"/>
          </a:p>
          <a:p>
            <a:pPr lvl="2"/>
            <a:r>
              <a:rPr lang="nb-NO"/>
              <a:t>Third </a:t>
            </a:r>
            <a:r>
              <a:rPr lang="nb-NO" err="1"/>
              <a:t>level</a:t>
            </a:r>
            <a:endParaRPr lang="nb-NO"/>
          </a:p>
          <a:p>
            <a:pPr lvl="3"/>
            <a:r>
              <a:rPr lang="nb-NO" err="1"/>
              <a:t>Fourth</a:t>
            </a:r>
            <a:r>
              <a:rPr lang="nb-NO"/>
              <a:t> </a:t>
            </a:r>
            <a:r>
              <a:rPr lang="nb-NO" err="1"/>
              <a:t>level</a:t>
            </a:r>
            <a:endParaRPr lang="nb-NO"/>
          </a:p>
          <a:p>
            <a:pPr lvl="4"/>
            <a:r>
              <a:rPr lang="nb-NO"/>
              <a:t>Fifth </a:t>
            </a:r>
            <a:r>
              <a:rPr lang="nb-NO" err="1"/>
              <a:t>level</a:t>
            </a:r>
            <a:endParaRPr lang="nb-NO"/>
          </a:p>
        </p:txBody>
      </p:sp>
      <p:sp>
        <p:nvSpPr>
          <p:cNvPr id="9" name="avo_textColor" hidden="1">
            <a:extLst>
              <a:ext uri="{FF2B5EF4-FFF2-40B4-BE49-F238E27FC236}">
                <a16:creationId xmlns:a16="http://schemas.microsoft.com/office/drawing/2014/main" id="{9898A59A-9F9B-4661-82BF-1E172DF21077}"/>
              </a:ext>
            </a:extLst>
          </p:cNvPr>
          <p:cNvSpPr/>
          <p:nvPr userDrawn="1"/>
        </p:nvSpPr>
        <p:spPr>
          <a:xfrm>
            <a:off x="349057" y="-352926"/>
            <a:ext cx="1728396" cy="2434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2996770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gn off">
    <p:bg>
      <p:bgPr>
        <a:solidFill>
          <a:srgbClr val="061C3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F18099E0-B623-4240-BB2C-6E25710A94E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558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F18099E0-B623-4240-BB2C-6E25710A94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avo_black" hidden="1">
            <a:extLst>
              <a:ext uri="{FF2B5EF4-FFF2-40B4-BE49-F238E27FC236}">
                <a16:creationId xmlns:a16="http://schemas.microsoft.com/office/drawing/2014/main" id="{1DBBCA36-AA32-4332-A3D6-5ED4CBDAF98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3872AEA6-9B3E-4F5B-AC1D-CD1888DF4A39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81762" y="2129084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 err="1"/>
              <a:t>Name</a:t>
            </a:r>
            <a:endParaRPr lang="nb-NO"/>
          </a:p>
        </p:txBody>
      </p:sp>
      <p:sp>
        <p:nvSpPr>
          <p:cNvPr id="8" name="Plassholder for tekst 6">
            <a:extLst>
              <a:ext uri="{FF2B5EF4-FFF2-40B4-BE49-F238E27FC236}">
                <a16:creationId xmlns:a16="http://schemas.microsoft.com/office/drawing/2014/main" id="{A8CA2C62-A7AD-46F8-B88C-4281D241A01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81762" y="2286265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Phone</a:t>
            </a:r>
          </a:p>
        </p:txBody>
      </p:sp>
      <p:sp>
        <p:nvSpPr>
          <p:cNvPr id="9" name="Plassholder for tekst 6">
            <a:extLst>
              <a:ext uri="{FF2B5EF4-FFF2-40B4-BE49-F238E27FC236}">
                <a16:creationId xmlns:a16="http://schemas.microsoft.com/office/drawing/2014/main" id="{36375315-C50D-4400-8E9C-82FFF6862DD8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1762" y="2438682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Mail</a:t>
            </a:r>
          </a:p>
        </p:txBody>
      </p:sp>
      <p:sp>
        <p:nvSpPr>
          <p:cNvPr id="10" name="Plassholder for tekst 6">
            <a:extLst>
              <a:ext uri="{FF2B5EF4-FFF2-40B4-BE49-F238E27FC236}">
                <a16:creationId xmlns:a16="http://schemas.microsoft.com/office/drawing/2014/main" id="{14E932F2-A077-4E36-BE2D-23E54A58528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125090" y="2129084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 err="1"/>
              <a:t>Name</a:t>
            </a:r>
            <a:endParaRPr lang="nb-NO"/>
          </a:p>
        </p:txBody>
      </p:sp>
      <p:sp>
        <p:nvSpPr>
          <p:cNvPr id="11" name="Plassholder for tekst 6">
            <a:extLst>
              <a:ext uri="{FF2B5EF4-FFF2-40B4-BE49-F238E27FC236}">
                <a16:creationId xmlns:a16="http://schemas.microsoft.com/office/drawing/2014/main" id="{C586D32F-1F31-43FE-B342-79E1499A59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125090" y="2286265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Phone</a:t>
            </a:r>
          </a:p>
        </p:txBody>
      </p:sp>
      <p:sp>
        <p:nvSpPr>
          <p:cNvPr id="12" name="Plassholder for tekst 6">
            <a:extLst>
              <a:ext uri="{FF2B5EF4-FFF2-40B4-BE49-F238E27FC236}">
                <a16:creationId xmlns:a16="http://schemas.microsoft.com/office/drawing/2014/main" id="{802D5A2A-3CD3-4FB6-BBBD-44E46EC6182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25090" y="2438682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Mail</a:t>
            </a:r>
          </a:p>
        </p:txBody>
      </p:sp>
      <p:sp>
        <p:nvSpPr>
          <p:cNvPr id="13" name="Plassholder for tekst 6">
            <a:extLst>
              <a:ext uri="{FF2B5EF4-FFF2-40B4-BE49-F238E27FC236}">
                <a16:creationId xmlns:a16="http://schemas.microsoft.com/office/drawing/2014/main" id="{2F6BF157-884C-4168-AC97-0BEC80DED97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964792" y="2129084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 err="1"/>
              <a:t>Name</a:t>
            </a:r>
            <a:endParaRPr lang="nb-NO"/>
          </a:p>
        </p:txBody>
      </p:sp>
      <p:sp>
        <p:nvSpPr>
          <p:cNvPr id="14" name="Plassholder for tekst 6">
            <a:extLst>
              <a:ext uri="{FF2B5EF4-FFF2-40B4-BE49-F238E27FC236}">
                <a16:creationId xmlns:a16="http://schemas.microsoft.com/office/drawing/2014/main" id="{878BD323-9FEE-4EFC-8753-EAD5C78AD19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964792" y="2286265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Phone</a:t>
            </a:r>
          </a:p>
        </p:txBody>
      </p:sp>
      <p:sp>
        <p:nvSpPr>
          <p:cNvPr id="15" name="Plassholder for tekst 6">
            <a:extLst>
              <a:ext uri="{FF2B5EF4-FFF2-40B4-BE49-F238E27FC236}">
                <a16:creationId xmlns:a16="http://schemas.microsoft.com/office/drawing/2014/main" id="{06424650-F680-4AD5-855D-6A29BB5A229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9964792" y="2438682"/>
            <a:ext cx="953418" cy="131397"/>
          </a:xfrm>
        </p:spPr>
        <p:txBody>
          <a:bodyPr>
            <a:spAutoFit/>
          </a:bodyPr>
          <a:lstStyle>
            <a:lvl1pPr marL="0" indent="0">
              <a:buNone/>
              <a:defRPr sz="800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Mail</a:t>
            </a:r>
          </a:p>
        </p:txBody>
      </p:sp>
      <p:sp>
        <p:nvSpPr>
          <p:cNvPr id="16" name="TekstSylinder 15">
            <a:extLst>
              <a:ext uri="{FF2B5EF4-FFF2-40B4-BE49-F238E27FC236}">
                <a16:creationId xmlns:a16="http://schemas.microsoft.com/office/drawing/2014/main" id="{12742B1A-6E5E-4341-9A8A-C5F454682174}"/>
              </a:ext>
            </a:extLst>
          </p:cNvPr>
          <p:cNvSpPr txBox="1"/>
          <p:nvPr userDrawn="1"/>
        </p:nvSpPr>
        <p:spPr>
          <a:xfrm>
            <a:off x="6280174" y="3190791"/>
            <a:ext cx="1179270" cy="292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5000"/>
              </a:lnSpc>
            </a:pPr>
            <a:r>
              <a:rPr lang="nb-NO" sz="800" err="1">
                <a:solidFill>
                  <a:schemeClr val="lt1"/>
                </a:solidFill>
              </a:rPr>
              <a:t>Avo</a:t>
            </a:r>
            <a:r>
              <a:rPr lang="nb-NO" sz="800">
                <a:solidFill>
                  <a:schemeClr val="lt1"/>
                </a:solidFill>
              </a:rPr>
              <a:t> </a:t>
            </a:r>
            <a:r>
              <a:rPr lang="nb-NO" sz="800" err="1">
                <a:solidFill>
                  <a:schemeClr val="lt1"/>
                </a:solidFill>
              </a:rPr>
              <a:t>Consulting</a:t>
            </a:r>
            <a:endParaRPr lang="nb-NO" sz="800">
              <a:solidFill>
                <a:schemeClr val="lt1"/>
              </a:solidFill>
            </a:endParaRPr>
          </a:p>
          <a:p>
            <a:pPr algn="l">
              <a:lnSpc>
                <a:spcPct val="125000"/>
              </a:lnSpc>
            </a:pPr>
            <a:r>
              <a:rPr lang="nb-NO" sz="800" u="sng">
                <a:solidFill>
                  <a:schemeClr val="lt1"/>
                </a:solidFill>
              </a:rPr>
              <a:t>avoconsulting.co</a:t>
            </a:r>
            <a:endParaRPr lang="nb-NO" sz="800">
              <a:solidFill>
                <a:schemeClr val="lt1"/>
              </a:solidFill>
            </a:endParaRP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5D3DA22B-CD58-4DFD-AAD2-CEFFC2B91EC0}"/>
              </a:ext>
            </a:extLst>
          </p:cNvPr>
          <p:cNvSpPr txBox="1"/>
          <p:nvPr userDrawn="1"/>
        </p:nvSpPr>
        <p:spPr>
          <a:xfrm>
            <a:off x="6279699" y="357038"/>
            <a:ext cx="3515821" cy="13216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>
              <a:lnSpc>
                <a:spcPct val="120000"/>
              </a:lnSpc>
            </a:pPr>
            <a:r>
              <a:rPr kumimoji="0" lang="nb-NO" sz="3751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Big </a:t>
            </a:r>
            <a:r>
              <a:rPr kumimoji="0" lang="nb-NO" sz="3751" b="0" i="0" u="none" strike="noStrike" kern="1200" cap="none" spc="0" normalizeH="0" baseline="0" noProof="0" err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Changes</a:t>
            </a:r>
            <a:r>
              <a:rPr kumimoji="0" lang="nb-NO" sz="3751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, </a:t>
            </a:r>
            <a:r>
              <a:rPr kumimoji="0" lang="nb-NO" sz="3751" b="0" i="0" u="none" strike="noStrike" kern="1200" cap="none" spc="0" normalizeH="0" baseline="0" noProof="0" err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Easy</a:t>
            </a:r>
            <a:r>
              <a:rPr kumimoji="0" lang="nb-NO" sz="3751" b="0" i="0" u="none" strike="noStrike" kern="1200" cap="none" spc="0" normalizeH="0" baseline="0" noProof="0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 </a:t>
            </a:r>
            <a:r>
              <a:rPr kumimoji="0" lang="nb-NO" sz="3751" b="0" i="0" u="none" strike="noStrike" kern="1200" cap="none" spc="0" normalizeH="0" baseline="0" noProof="0" err="1">
                <a:ln>
                  <a:noFill/>
                </a:ln>
                <a:solidFill>
                  <a:schemeClr val="lt1"/>
                </a:solidFill>
                <a:effectLst/>
                <a:uLnTx/>
                <a:uFillTx/>
                <a:latin typeface="+mn-lt"/>
                <a:ea typeface="+mj-ea"/>
                <a:cs typeface="+mj-cs"/>
              </a:rPr>
              <a:t>Peasy</a:t>
            </a:r>
            <a:endParaRPr lang="nb-NO" sz="900">
              <a:solidFill>
                <a:schemeClr val="lt1"/>
              </a:solidFill>
            </a:endParaRPr>
          </a:p>
        </p:txBody>
      </p:sp>
      <p:pic>
        <p:nvPicPr>
          <p:cNvPr id="6" name="avo_red">
            <a:extLst>
              <a:ext uri="{FF2B5EF4-FFF2-40B4-BE49-F238E27FC236}">
                <a16:creationId xmlns:a16="http://schemas.microsoft.com/office/drawing/2014/main" id="{8D4E9A38-B17E-4B4F-8E7D-7FFB1606F29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9" name="avo_green" hidden="1">
            <a:extLst>
              <a:ext uri="{FF2B5EF4-FFF2-40B4-BE49-F238E27FC236}">
                <a16:creationId xmlns:a16="http://schemas.microsoft.com/office/drawing/2014/main" id="{A2B45821-51B5-4654-AB64-6FDF10014E0A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6" name="avo_oaker" hidden="1">
            <a:extLst>
              <a:ext uri="{FF2B5EF4-FFF2-40B4-BE49-F238E27FC236}">
                <a16:creationId xmlns:a16="http://schemas.microsoft.com/office/drawing/2014/main" id="{2660953C-E84E-461C-8C9B-7A163BC8375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8" name="avo_orange" hidden="1">
            <a:extLst>
              <a:ext uri="{FF2B5EF4-FFF2-40B4-BE49-F238E27FC236}">
                <a16:creationId xmlns:a16="http://schemas.microsoft.com/office/drawing/2014/main" id="{481ADB4E-4324-404E-B75A-DB9ECD86A5E6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32" name="avo_pale" hidden="1">
            <a:extLst>
              <a:ext uri="{FF2B5EF4-FFF2-40B4-BE49-F238E27FC236}">
                <a16:creationId xmlns:a16="http://schemas.microsoft.com/office/drawing/2014/main" id="{2CCB1CA0-CD22-4719-A435-132513252761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5563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BDFEDC6-8190-48CC-B921-E2CC991B994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2707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BDFEDC6-8190-48CC-B921-E2CC991B994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690EA8A8-7449-46D7-84EE-E21DD27AE1C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err="1"/>
              <a:t>Click</a:t>
            </a:r>
            <a:r>
              <a:rPr lang="nb-NO"/>
              <a:t> to </a:t>
            </a:r>
            <a:r>
              <a:rPr lang="nb-NO" err="1"/>
              <a:t>edit</a:t>
            </a:r>
            <a:r>
              <a:rPr lang="nb-NO"/>
              <a:t> Master </a:t>
            </a:r>
            <a:r>
              <a:rPr lang="nb-NO" err="1"/>
              <a:t>title</a:t>
            </a:r>
            <a:r>
              <a:rPr lang="nb-NO"/>
              <a:t> style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172816-A114-4DF8-9B12-8BB556101C26}" type="datetime1">
              <a:rPr lang="nb-NO" smtClean="0"/>
              <a:t>29.11.2024</a:t>
            </a:fld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  <p:sp>
        <p:nvSpPr>
          <p:cNvPr id="6" name="Plassholder for tekst 2">
            <a:extLst>
              <a:ext uri="{FF2B5EF4-FFF2-40B4-BE49-F238E27FC236}">
                <a16:creationId xmlns:a16="http://schemas.microsoft.com/office/drawing/2014/main" id="{9957D830-15D1-4C38-8E3A-21C72FDCA54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9296" y="165600"/>
            <a:ext cx="3664427" cy="262764"/>
          </a:xfrm>
        </p:spPr>
        <p:txBody>
          <a:bodyPr wrap="square">
            <a:spAutoFit/>
          </a:bodyPr>
          <a:lstStyle>
            <a:lvl1pPr marL="0" indent="0">
              <a:spcBef>
                <a:spcPts val="0"/>
              </a:spcBef>
              <a:buNone/>
              <a:defRPr sz="1600" b="1">
                <a:solidFill>
                  <a:srgbClr val="E54F4F"/>
                </a:solidFill>
              </a:defRPr>
            </a:lvl1pPr>
          </a:lstStyle>
          <a:p>
            <a:pPr lvl="0"/>
            <a:r>
              <a:rPr lang="nb-NO"/>
              <a:t>Chapter </a:t>
            </a:r>
            <a:r>
              <a:rPr lang="nb-NO" err="1"/>
              <a:t>description</a:t>
            </a:r>
            <a:endParaRPr lang="nb-NO"/>
          </a:p>
        </p:txBody>
      </p:sp>
      <p:sp>
        <p:nvSpPr>
          <p:cNvPr id="7" name="avo_textColor" hidden="1">
            <a:extLst>
              <a:ext uri="{FF2B5EF4-FFF2-40B4-BE49-F238E27FC236}">
                <a16:creationId xmlns:a16="http://schemas.microsoft.com/office/drawing/2014/main" id="{2C93500D-A066-4664-A877-66491D03EC56}"/>
              </a:ext>
            </a:extLst>
          </p:cNvPr>
          <p:cNvSpPr/>
          <p:nvPr userDrawn="1"/>
        </p:nvSpPr>
        <p:spPr>
          <a:xfrm>
            <a:off x="349057" y="-352926"/>
            <a:ext cx="1728396" cy="24348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478937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EDD64AC-E560-40FE-A1FA-8C71745F47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9742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26" imgH="526" progId="TCLayout.ActiveDocument.1">
                  <p:embed/>
                </p:oleObj>
              </mc:Choice>
              <mc:Fallback>
                <p:oleObj name="think-cell Slide" r:id="rId3" imgW="526" imgH="5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1EDD64AC-E560-40FE-A1FA-8C71745F47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EF1AD54-92D5-4AFC-AEF9-CA690D60BCB4}" type="datetime1">
              <a:rPr lang="nb-NO" smtClean="0"/>
              <a:t>29.11.2024</a:t>
            </a:fld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751DFAA-887F-4071-8EAD-E8CA316FCF06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4343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ags" Target="../tags/tag20.xml"/><Relationship Id="rId3" Type="http://schemas.openxmlformats.org/officeDocument/2006/relationships/slideLayout" Target="../slideLayouts/slideLayout12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oleObject" Target="../embeddings/oleObject11.bin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10" Type="http://schemas.openxmlformats.org/officeDocument/2006/relationships/slideLayout" Target="../slideLayouts/slideLayout19.xml"/><Relationship Id="rId19" Type="http://schemas.openxmlformats.org/officeDocument/2006/relationships/tags" Target="../tags/tag21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93AC85E-8B2B-4E4F-A044-509828D2BCF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075884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1003" imgH="1003" progId="TCLayout.ActiveDocument.1">
                  <p:embed/>
                </p:oleObj>
              </mc:Choice>
              <mc:Fallback>
                <p:oleObj name="think-cell Slide" r:id="rId13" imgW="1003" imgH="100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93AC85E-8B2B-4E4F-A044-509828D2BC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2989D229-E158-49C8-A4EF-E91BCC5B2D2A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3751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27628" y="447756"/>
            <a:ext cx="10515599" cy="519433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/>
          <a:p>
            <a:r>
              <a:rPr lang="nb-NO"/>
              <a:t>Slide </a:t>
            </a:r>
            <a:r>
              <a:rPr lang="nb-NO" err="1"/>
              <a:t>Tit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49057" y="2540136"/>
            <a:ext cx="5570310" cy="35953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2"/>
          </p:nvPr>
        </p:nvSpPr>
        <p:spPr>
          <a:xfrm>
            <a:off x="8841038" y="6413535"/>
            <a:ext cx="846221" cy="123125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7B5B7A36-D0FC-455C-9BE2-A95A3B8C365C}" type="datetime1">
              <a:rPr lang="nb-NO" smtClean="0"/>
              <a:t>29.11.2024</a:t>
            </a:fld>
            <a:endParaRPr lang="nb-NO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0815143" y="6413535"/>
            <a:ext cx="125852" cy="123125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5751DFAA-887F-4071-8EAD-E8CA316FCF06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8" name="avo_logo_black">
            <a:extLst>
              <a:ext uri="{FF2B5EF4-FFF2-40B4-BE49-F238E27FC236}">
                <a16:creationId xmlns:a16="http://schemas.microsoft.com/office/drawing/2014/main" id="{7BEC170F-76E0-4A8B-819C-D11F8D853BF4}"/>
              </a:ext>
            </a:extLst>
          </p:cNvPr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98" y="6282211"/>
            <a:ext cx="596423" cy="289722"/>
          </a:xfrm>
          <a:prstGeom prst="rect">
            <a:avLst/>
          </a:prstGeom>
        </p:spPr>
      </p:pic>
      <p:pic>
        <p:nvPicPr>
          <p:cNvPr id="9" name="avo_logo_white" descr="Et bilde som inneholder utklipp&#10;&#10;Automatisk generert beskrivelse" hidden="1">
            <a:extLst>
              <a:ext uri="{FF2B5EF4-FFF2-40B4-BE49-F238E27FC236}">
                <a16:creationId xmlns:a16="http://schemas.microsoft.com/office/drawing/2014/main" id="{B1814DCA-7156-4F4D-80AB-9894144F473A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999" y="6282211"/>
            <a:ext cx="596415" cy="2897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58209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8" r:id="rId4"/>
    <p:sldLayoutId id="2147483673" r:id="rId5"/>
    <p:sldLayoutId id="2147483674" r:id="rId6"/>
    <p:sldLayoutId id="2147483675" r:id="rId7"/>
    <p:sldLayoutId id="2147483676" r:id="rId8"/>
    <p:sldLayoutId id="2147483677" r:id="rId9"/>
  </p:sldLayoutIdLst>
  <p:hf hdr="0" ft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75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914446" rtl="0" eaLnBrk="1" latinLnBrk="0" hangingPunct="1">
        <a:lnSpc>
          <a:spcPct val="117000"/>
        </a:lnSpc>
        <a:spcBef>
          <a:spcPts val="3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628673" indent="-171450" algn="l" defTabSz="914446" rtl="0" eaLnBrk="1" latinLnBrk="0" hangingPunct="1">
        <a:lnSpc>
          <a:spcPct val="117000"/>
        </a:lnSpc>
        <a:spcBef>
          <a:spcPts val="3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1085896" indent="-171450" algn="l" defTabSz="914446" rtl="0" eaLnBrk="1" latinLnBrk="0" hangingPunct="1">
        <a:lnSpc>
          <a:spcPct val="117000"/>
        </a:lnSpc>
        <a:spcBef>
          <a:spcPts val="3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543119" indent="-171450" algn="l" defTabSz="914446" rtl="0" eaLnBrk="1" latinLnBrk="0" hangingPunct="1">
        <a:lnSpc>
          <a:spcPct val="117000"/>
        </a:lnSpc>
        <a:spcBef>
          <a:spcPts val="3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2000342" indent="-171450" algn="l" defTabSz="914446" rtl="0" eaLnBrk="1" latinLnBrk="0" hangingPunct="1">
        <a:lnSpc>
          <a:spcPct val="117000"/>
        </a:lnSpc>
        <a:spcBef>
          <a:spcPts val="350"/>
        </a:spcBef>
        <a:buFont typeface="Wingdings" panose="05000000000000000000" pitchFamily="2" charset="2"/>
        <a:buChar char="§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4D8B6C3-F5AA-4C3D-9516-A4AB8E6D29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9084102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1003" imgH="1003" progId="TCLayout.ActiveDocument.1">
                  <p:embed/>
                </p:oleObj>
              </mc:Choice>
              <mc:Fallback>
                <p:oleObj name="think-cell Slide" r:id="rId20" imgW="1003" imgH="10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4D8B6C3-F5AA-4C3D-9516-A4AB8E6D29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4FB812E-4F38-424C-B25A-59CF48F00A00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b-NO" sz="2800" b="0" i="0" baseline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03414" y="-1"/>
            <a:ext cx="10926000" cy="1350000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11859" y="1349999"/>
            <a:ext cx="10927084" cy="505605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11950" y="6408000"/>
            <a:ext cx="5252673" cy="450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l">
              <a:defRPr sz="1000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endParaRPr lang="nb-NO"/>
          </a:p>
        </p:txBody>
      </p:sp>
      <p:sp>
        <p:nvSpPr>
          <p:cNvPr id="17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738087" y="6406054"/>
            <a:ext cx="450000" cy="450000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>
              <a:defRPr sz="1000" b="0">
                <a:solidFill>
                  <a:schemeClr val="bg1">
                    <a:lumMod val="50000"/>
                  </a:schemeClr>
                </a:solidFill>
                <a:latin typeface="+mn-lt"/>
              </a:defRPr>
            </a:lvl1pPr>
          </a:lstStyle>
          <a:p>
            <a:fld id="{D0BEE4E4-E047-6A49-BCB9-4D06E7BA237B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133439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  <p:sldLayoutId id="2147483691" r:id="rId12"/>
    <p:sldLayoutId id="2147483692" r:id="rId13"/>
    <p:sldLayoutId id="2147483693" r:id="rId14"/>
    <p:sldLayoutId id="2147483694" r:id="rId15"/>
    <p:sldLayoutId id="2147483695" r:id="rId16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b="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ct val="100000"/>
        </a:lnSpc>
        <a:spcBef>
          <a:spcPts val="10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Clr>
          <a:schemeClr val="accent1"/>
        </a:buClr>
        <a:buFont typeface=".AppleSystemUIFont" charset="-120"/>
        <a:buChar char="›"/>
        <a:defRPr sz="2000" kern="1200">
          <a:solidFill>
            <a:schemeClr val="tx2"/>
          </a:solidFill>
          <a:latin typeface="+mj-lt"/>
          <a:ea typeface="Georgia" charset="0"/>
          <a:cs typeface="Georgi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2.xml"/><Relationship Id="rId1" Type="http://schemas.openxmlformats.org/officeDocument/2006/relationships/tags" Target="../tags/tag5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0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0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4.xml"/><Relationship Id="rId1" Type="http://schemas.openxmlformats.org/officeDocument/2006/relationships/tags" Target="../tags/tag53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20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2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0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8.xml"/><Relationship Id="rId1" Type="http://schemas.openxmlformats.org/officeDocument/2006/relationships/tags" Target="../tags/tag57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4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20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2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20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s://hvl.outsystemsenterprise.com/Masterportalen/" TargetMode="External"/><Relationship Id="rId1" Type="http://schemas.openxmlformats.org/officeDocument/2006/relationships/slideLayout" Target="../slideLayouts/slideLayout2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0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2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2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5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jpeg"/><Relationship Id="rId1" Type="http://schemas.openxmlformats.org/officeDocument/2006/relationships/slideLayout" Target="../slideLayouts/slideLayout2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2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Layout" Target="../slideLayouts/slideLayout2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5.xml"/><Relationship Id="rId1" Type="http://schemas.openxmlformats.org/officeDocument/2006/relationships/tags" Target="../tags/tag61.x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9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8.bin"/><Relationship Id="rId4" Type="http://schemas.openxmlformats.org/officeDocument/2006/relationships/notesSlide" Target="../notesSlides/notesSlid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0C9CAEC-585C-4639-8DD8-96A4D4373B1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75813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1003" imgH="1003" progId="TCLayout.ActiveDocument.1">
                  <p:embed/>
                </p:oleObj>
              </mc:Choice>
              <mc:Fallback>
                <p:oleObj name="think-cell Slide" r:id="rId5" imgW="1003" imgH="100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0C9CAEC-585C-4639-8DD8-96A4D4373B1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5503B3AA-FFF9-4CF4-A393-B5D374EC9F4B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Tittel 5">
            <a:extLst>
              <a:ext uri="{FF2B5EF4-FFF2-40B4-BE49-F238E27FC236}">
                <a16:creationId xmlns:a16="http://schemas.microsoft.com/office/drawing/2014/main" id="{F8359F38-7B44-4E15-8981-05BB83912B0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b-NO"/>
              <a:t>Brukerveiledning</a:t>
            </a: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AE0247B-CC69-4400-93EA-DB816A5C44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>
                <a:cs typeface="Arial"/>
              </a:rPr>
              <a:t>Masterportalen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EC6B12-CF45-421C-B142-2BF6FBDD6250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en-US" dirty="0">
                <a:latin typeface="Georgia"/>
              </a:rPr>
              <a:t>Dette </a:t>
            </a:r>
            <a:r>
              <a:rPr lang="nb-NO" dirty="0">
                <a:latin typeface="Georgia"/>
              </a:rPr>
              <a:t>dokumentet har som hensikt å veilede bruken av </a:t>
            </a:r>
            <a:r>
              <a:rPr lang="nb-NO" dirty="0" err="1">
                <a:latin typeface="Georgia"/>
              </a:rPr>
              <a:t>OutSystems</a:t>
            </a:r>
            <a:r>
              <a:rPr lang="nb-NO" dirty="0">
                <a:latin typeface="Georgia"/>
              </a:rPr>
              <a:t>-løsningen 'Masterportalen'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A17F6DD-BE09-4560-9258-784B9C37F053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2066588" y="6413500"/>
            <a:ext cx="125412" cy="123825"/>
          </a:xfrm>
        </p:spPr>
        <p:txBody>
          <a:bodyPr/>
          <a:lstStyle/>
          <a:p>
            <a:fld id="{5751DFAA-887F-4071-8EAD-E8CA316FCF06}" type="slidenum">
              <a:rPr lang="nb-NO" smtClean="0"/>
              <a:pPr/>
              <a:t>1</a:t>
            </a:fld>
            <a:endParaRPr lang="nb-NO"/>
          </a:p>
        </p:txBody>
      </p:sp>
      <p:sp>
        <p:nvSpPr>
          <p:cNvPr id="11" name="Text Placeholder 8">
            <a:extLst>
              <a:ext uri="{FF2B5EF4-FFF2-40B4-BE49-F238E27FC236}">
                <a16:creationId xmlns:a16="http://schemas.microsoft.com/office/drawing/2014/main" id="{383C5D7C-C84C-1EC0-60B4-0229E31A0CD4}"/>
              </a:ext>
            </a:extLst>
          </p:cNvPr>
          <p:cNvSpPr txBox="1">
            <a:spLocks/>
          </p:cNvSpPr>
          <p:nvPr/>
        </p:nvSpPr>
        <p:spPr>
          <a:xfrm>
            <a:off x="9983986" y="6225995"/>
            <a:ext cx="1966587" cy="278201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.AppleSystemUIFont" charset="-120"/>
              <a:buNone/>
              <a:defRPr sz="1500" b="0" i="0" kern="1200">
                <a:solidFill>
                  <a:schemeClr val="tx1"/>
                </a:solidFill>
                <a:latin typeface="Georgia" charset="0"/>
                <a:ea typeface="Georgia" charset="0"/>
                <a:cs typeface="Georgia" charset="0"/>
              </a:defRPr>
            </a:lvl1pPr>
            <a:lvl2pPr marL="4572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2pPr>
            <a:lvl3pPr marL="9144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3pPr>
            <a:lvl4pPr marL="13716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4pPr>
            <a:lvl5pPr marL="1828800" indent="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Clr>
                <a:schemeClr val="accent1"/>
              </a:buClr>
              <a:buFont typeface=".AppleSystemUIFont" charset="-12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j-lt"/>
                <a:ea typeface="Georgia" charset="0"/>
                <a:cs typeface="Georgia" charset="0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 err="1">
                <a:latin typeface="Georgia"/>
              </a:rPr>
              <a:t>Siste</a:t>
            </a:r>
            <a:r>
              <a:rPr lang="en-US" sz="1200" dirty="0">
                <a:latin typeface="Georgia"/>
              </a:rPr>
              <a:t> </a:t>
            </a:r>
            <a:r>
              <a:rPr lang="en-US" sz="1200" dirty="0" err="1">
                <a:latin typeface="Georgia"/>
              </a:rPr>
              <a:t>oppdatert</a:t>
            </a:r>
            <a:r>
              <a:rPr lang="en-US" sz="1200" dirty="0">
                <a:latin typeface="Georgia"/>
              </a:rPr>
              <a:t>: 25.11.2024</a:t>
            </a: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2434994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Studenter oppretter sin egen prosjektskisse</a:t>
            </a:r>
          </a:p>
        </p:txBody>
      </p:sp>
      <p:pic>
        <p:nvPicPr>
          <p:cNvPr id="2" name="Bilde 1" descr="Et bilde som inneholder tekst, elektronikk, skjermbilde, programvare&#10;&#10;Automatisk generert beskrivelse">
            <a:extLst>
              <a:ext uri="{FF2B5EF4-FFF2-40B4-BE49-F238E27FC236}">
                <a16:creationId xmlns:a16="http://schemas.microsoft.com/office/drawing/2014/main" id="{B38497F5-C65F-860B-8206-81D29C16C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8195" y="1258747"/>
            <a:ext cx="5130052" cy="5236976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B26A5220-5B18-AB8A-DEB7-39335F30994B}"/>
              </a:ext>
            </a:extLst>
          </p:cNvPr>
          <p:cNvSpPr txBox="1"/>
          <p:nvPr/>
        </p:nvSpPr>
        <p:spPr>
          <a:xfrm>
            <a:off x="986117" y="1647264"/>
            <a:ext cx="329452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 4: Studenten gjør nødvendige endringer da skissen </a:t>
            </a:r>
            <a:r>
              <a:rPr lang="nb-NO" dirty="0" err="1">
                <a:latin typeface="Helvetica"/>
                <a:ea typeface="Helvetica"/>
                <a:cs typeface="Helvetica"/>
              </a:rPr>
              <a:t>ikkje</a:t>
            </a:r>
            <a:r>
              <a:rPr lang="nb-NO" dirty="0">
                <a:latin typeface="Helvetica"/>
                <a:ea typeface="Helvetica"/>
                <a:cs typeface="Helvetica"/>
              </a:rPr>
              <a:t> vart godkjent.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274899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Studenter oppretter sin egen prosjektskisse</a:t>
            </a:r>
          </a:p>
        </p:txBody>
      </p:sp>
      <p:pic>
        <p:nvPicPr>
          <p:cNvPr id="3" name="Bilde 2" descr="Et bilde som inneholder tekst, elektronikk, skjermbilde, programvare&#10;&#10;Automatisk generert beskrivelse">
            <a:extLst>
              <a:ext uri="{FF2B5EF4-FFF2-40B4-BE49-F238E27FC236}">
                <a16:creationId xmlns:a16="http://schemas.microsoft.com/office/drawing/2014/main" id="{1F97F92E-51EC-FD85-21EE-7EA0AAFBC3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5459" y="1340119"/>
            <a:ext cx="7292787" cy="4738057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0DBE7669-8026-DC07-998D-958AA6F21749}"/>
              </a:ext>
            </a:extLst>
          </p:cNvPr>
          <p:cNvSpPr txBox="1"/>
          <p:nvPr/>
        </p:nvSpPr>
        <p:spPr>
          <a:xfrm>
            <a:off x="986117" y="1647264"/>
            <a:ext cx="329452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3 av 4: Studenten blir varslet om at skissen er godkjent.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4174524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Studenter oppretter sin egen prosjektskisse</a:t>
            </a:r>
          </a:p>
        </p:txBody>
      </p:sp>
      <p:pic>
        <p:nvPicPr>
          <p:cNvPr id="2" name="Bilde 1" descr="Et bilde som inneholder tekst, skjermbilde, programvare, Dataikon&#10;&#10;Automatisk generert beskrivelse">
            <a:extLst>
              <a:ext uri="{FF2B5EF4-FFF2-40B4-BE49-F238E27FC236}">
                <a16:creationId xmlns:a16="http://schemas.microsoft.com/office/drawing/2014/main" id="{F475792F-9E63-BB5A-B9FF-6DF03A71A0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9929" y="2226505"/>
            <a:ext cx="7158318" cy="2954078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4530D90F-06D2-E731-DBB5-1491D93569DA}"/>
              </a:ext>
            </a:extLst>
          </p:cNvPr>
          <p:cNvSpPr txBox="1"/>
          <p:nvPr/>
        </p:nvSpPr>
        <p:spPr>
          <a:xfrm>
            <a:off x="986117" y="1647264"/>
            <a:ext cx="329452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4 av 4: Studenten signerer veiledningskontrakt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9024775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kst, diagram, skjermbilde, design&#10;&#10;Automatisk generert beskrivelse">
            <a:extLst>
              <a:ext uri="{FF2B5EF4-FFF2-40B4-BE49-F238E27FC236}">
                <a16:creationId xmlns:a16="http://schemas.microsoft.com/office/drawing/2014/main" id="{3EF9E151-5E77-D8CE-6C3E-675216F0A12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32984" y="861819"/>
            <a:ext cx="8339778" cy="592422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 av 3: Studenten velger temaskisse opprettet av ekstern</a:t>
            </a:r>
          </a:p>
        </p:txBody>
      </p:sp>
    </p:spTree>
    <p:extLst>
      <p:ext uri="{BB962C8B-B14F-4D97-AF65-F5344CB8AC3E}">
        <p14:creationId xmlns:p14="http://schemas.microsoft.com/office/powerpoint/2010/main" val="27504984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tudenten velger temaskisse opprettet av ekstern</a:t>
            </a:r>
          </a:p>
        </p:txBody>
      </p:sp>
      <p:pic>
        <p:nvPicPr>
          <p:cNvPr id="6" name="Bilde 5" descr="Et bilde som inneholder tekst, skjermbilde, Font, programvare&#10;&#10;Automatisk generert beskrivelse">
            <a:extLst>
              <a:ext uri="{FF2B5EF4-FFF2-40B4-BE49-F238E27FC236}">
                <a16:creationId xmlns:a16="http://schemas.microsoft.com/office/drawing/2014/main" id="{E7713FB9-0D06-E099-78E9-093744B12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341" y="902317"/>
            <a:ext cx="5992906" cy="506457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5: Studenten trykker "Søk i prosjektskisser" og </a:t>
            </a:r>
            <a:r>
              <a:rPr lang="nb-NO" dirty="0" err="1">
                <a:latin typeface="Helvetica"/>
                <a:ea typeface="Helvetica"/>
                <a:cs typeface="Helvetica"/>
              </a:rPr>
              <a:t>browser</a:t>
            </a:r>
            <a:r>
              <a:rPr lang="nb-NO" dirty="0">
                <a:latin typeface="Helvetica"/>
                <a:ea typeface="Helvetica"/>
                <a:cs typeface="Helvetica"/>
              </a:rPr>
              <a:t> deretter tilgjengelige prosjektskisser.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329768236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tudenten velger temaskisse opprettet av ekstern</a:t>
            </a: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 5: Studenten trykker "Velg tema" på en temaskisse opprettet av en ekstern, og oppretter dermed en egen prosjektskisse basert på denne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2" name="Bilde 1" descr="Et bilde som inneholder tekst, skjermbilde, display, programvare&#10;&#10;Automatisk generert beskrivelse">
            <a:extLst>
              <a:ext uri="{FF2B5EF4-FFF2-40B4-BE49-F238E27FC236}">
                <a16:creationId xmlns:a16="http://schemas.microsoft.com/office/drawing/2014/main" id="{0C4E0CB7-D888-D756-8586-9A0487E9C9D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82988" y="1340278"/>
            <a:ext cx="6665258" cy="32249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538919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tudenten velger temaskisse opprettet av ekstern</a:t>
            </a:r>
          </a:p>
          <a:p>
            <a:endParaRPr lang="nb-NO" dirty="0">
              <a:cs typeface="Arial"/>
            </a:endParaRPr>
          </a:p>
        </p:txBody>
      </p:sp>
      <p:pic>
        <p:nvPicPr>
          <p:cNvPr id="2" name="Bilde 1" descr="Et bilde som inneholder tekst, elektronikk, skjermbilde, programvare&#10;&#10;Automatisk generert beskrivelse">
            <a:extLst>
              <a:ext uri="{FF2B5EF4-FFF2-40B4-BE49-F238E27FC236}">
                <a16:creationId xmlns:a16="http://schemas.microsoft.com/office/drawing/2014/main" id="{B38497F5-C65F-860B-8206-81D29C16C7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8195" y="1258747"/>
            <a:ext cx="5130052" cy="5236976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B26A5220-5B18-AB8A-DEB7-39335F30994B}"/>
              </a:ext>
            </a:extLst>
          </p:cNvPr>
          <p:cNvSpPr txBox="1"/>
          <p:nvPr/>
        </p:nvSpPr>
        <p:spPr>
          <a:xfrm>
            <a:off x="986117" y="1647264"/>
            <a:ext cx="329452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3 av 5: Studenten gjør nødvendige endringer da skissen </a:t>
            </a:r>
            <a:r>
              <a:rPr lang="nb-NO" dirty="0" err="1">
                <a:latin typeface="Helvetica"/>
                <a:ea typeface="Helvetica"/>
                <a:cs typeface="Helvetica"/>
              </a:rPr>
              <a:t>ikkje</a:t>
            </a:r>
            <a:r>
              <a:rPr lang="nb-NO" dirty="0">
                <a:latin typeface="Helvetica"/>
                <a:ea typeface="Helvetica"/>
                <a:cs typeface="Helvetica"/>
              </a:rPr>
              <a:t> vart godkjent.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16886008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tudenten velger temaskisse opprettet av ekstern</a:t>
            </a:r>
          </a:p>
          <a:p>
            <a:endParaRPr lang="nb-NO" dirty="0">
              <a:cs typeface="Arial"/>
            </a:endParaRPr>
          </a:p>
        </p:txBody>
      </p:sp>
      <p:pic>
        <p:nvPicPr>
          <p:cNvPr id="3" name="Bilde 2" descr="Et bilde som inneholder tekst, elektronikk, skjermbilde, programvare&#10;&#10;Automatisk generert beskrivelse">
            <a:extLst>
              <a:ext uri="{FF2B5EF4-FFF2-40B4-BE49-F238E27FC236}">
                <a16:creationId xmlns:a16="http://schemas.microsoft.com/office/drawing/2014/main" id="{1F97F92E-51EC-FD85-21EE-7EA0AAFBC3F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55459" y="1340119"/>
            <a:ext cx="7292787" cy="4738057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0DBE7669-8026-DC07-998D-958AA6F21749}"/>
              </a:ext>
            </a:extLst>
          </p:cNvPr>
          <p:cNvSpPr txBox="1"/>
          <p:nvPr/>
        </p:nvSpPr>
        <p:spPr>
          <a:xfrm>
            <a:off x="986117" y="1647264"/>
            <a:ext cx="329452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4 av 5: Studenten blir varslet om at skissen er godkjent.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3559729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tudenten velger temaskisse opprettet av ekstern</a:t>
            </a:r>
          </a:p>
          <a:p>
            <a:endParaRPr lang="nb-NO" dirty="0">
              <a:cs typeface="Arial"/>
            </a:endParaRPr>
          </a:p>
        </p:txBody>
      </p:sp>
      <p:pic>
        <p:nvPicPr>
          <p:cNvPr id="2" name="Bilde 1" descr="Et bilde som inneholder tekst, skjermbilde, programvare, Dataikon&#10;&#10;Automatisk generert beskrivelse">
            <a:extLst>
              <a:ext uri="{FF2B5EF4-FFF2-40B4-BE49-F238E27FC236}">
                <a16:creationId xmlns:a16="http://schemas.microsoft.com/office/drawing/2014/main" id="{F475792F-9E63-BB5A-B9FF-6DF03A71A0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9929" y="2226505"/>
            <a:ext cx="7158318" cy="2954078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4530D90F-06D2-E731-DBB5-1491D93569DA}"/>
              </a:ext>
            </a:extLst>
          </p:cNvPr>
          <p:cNvSpPr txBox="1"/>
          <p:nvPr/>
        </p:nvSpPr>
        <p:spPr>
          <a:xfrm>
            <a:off x="986117" y="1647264"/>
            <a:ext cx="329452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5 av 5: Studenten signerer veiledningskontrakt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87597858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 descr="Et bilde som inneholder tekst, skjermbilde, diagram, design&#10;&#10;Automatisk generert beskrivelse">
            <a:extLst>
              <a:ext uri="{FF2B5EF4-FFF2-40B4-BE49-F238E27FC236}">
                <a16:creationId xmlns:a16="http://schemas.microsoft.com/office/drawing/2014/main" id="{439C0775-A355-B532-3AA7-BD164E9E91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2879" y="1039401"/>
            <a:ext cx="10784057" cy="5575124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F15C33CB-2A6A-F505-24F3-35ABABF237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 av 3: Studenten melder interesse for HVL-skisse</a:t>
            </a:r>
          </a:p>
        </p:txBody>
      </p:sp>
    </p:spTree>
    <p:extLst>
      <p:ext uri="{BB962C8B-B14F-4D97-AF65-F5344CB8AC3E}">
        <p14:creationId xmlns:p14="http://schemas.microsoft.com/office/powerpoint/2010/main" val="18003941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24054BE-2F76-466C-BC86-B166A78E5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24054BE-2F76-466C-BC86-B166A78E5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356718C-6526-49C5-9641-FBC4C69CB1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16ADF084-D53F-4DFC-8BE0-5C639D11C9F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/>
              <a:t>Introduksjon</a:t>
            </a:r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49B29919-F602-439A-8956-4E53741204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286574" cy="10512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Formål og Roller</a:t>
            </a:r>
          </a:p>
        </p:txBody>
      </p:sp>
    </p:spTree>
    <p:extLst>
      <p:ext uri="{BB962C8B-B14F-4D97-AF65-F5344CB8AC3E}">
        <p14:creationId xmlns:p14="http://schemas.microsoft.com/office/powerpoint/2010/main" val="56319557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tudenten melder interesse for HVL-skisse</a:t>
            </a:r>
          </a:p>
          <a:p>
            <a:endParaRPr lang="nb-NO" dirty="0">
              <a:cs typeface="Arial"/>
            </a:endParaRPr>
          </a:p>
        </p:txBody>
      </p:sp>
      <p:pic>
        <p:nvPicPr>
          <p:cNvPr id="6" name="Bilde 5" descr="Et bilde som inneholder tekst, skjermbilde, Font, programvare&#10;&#10;Automatisk generert beskrivelse">
            <a:extLst>
              <a:ext uri="{FF2B5EF4-FFF2-40B4-BE49-F238E27FC236}">
                <a16:creationId xmlns:a16="http://schemas.microsoft.com/office/drawing/2014/main" id="{E7713FB9-0D06-E099-78E9-093744B122C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341" y="902317"/>
            <a:ext cx="5992906" cy="5064571"/>
          </a:xfrm>
          <a:prstGeom prst="rect">
            <a:avLst/>
          </a:prstGeom>
        </p:spPr>
      </p:pic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5: Studenten trykker "Søk i prosjektskisser" og </a:t>
            </a:r>
            <a:r>
              <a:rPr lang="nb-NO" dirty="0" err="1">
                <a:latin typeface="Helvetica"/>
                <a:ea typeface="Helvetica"/>
                <a:cs typeface="Helvetica"/>
              </a:rPr>
              <a:t>browser</a:t>
            </a:r>
            <a:r>
              <a:rPr lang="nb-NO" dirty="0">
                <a:latin typeface="Helvetica"/>
                <a:ea typeface="Helvetica"/>
                <a:cs typeface="Helvetica"/>
              </a:rPr>
              <a:t> deretter tilgjengelige prosjektskisser.</a:t>
            </a:r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94549709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tudenten melder interesse for HVL-skisse</a:t>
            </a:r>
          </a:p>
          <a:p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 5: Studenten trykker "Meld interesse" på en </a:t>
            </a:r>
            <a:r>
              <a:rPr lang="nb-NO" dirty="0" err="1">
                <a:latin typeface="Helvetica"/>
                <a:ea typeface="Helvetica"/>
                <a:cs typeface="Helvetica"/>
              </a:rPr>
              <a:t>prosjekskisse</a:t>
            </a:r>
            <a:r>
              <a:rPr lang="nb-NO" dirty="0">
                <a:latin typeface="Helvetica"/>
                <a:ea typeface="Helvetica"/>
                <a:cs typeface="Helvetica"/>
              </a:rPr>
              <a:t>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2" name="Bilde 1" descr="Et bilde som inneholder tekst, skjermbilde, programvare, Operativsystem&#10;&#10;Automatisk generert beskrivelse">
            <a:extLst>
              <a:ext uri="{FF2B5EF4-FFF2-40B4-BE49-F238E27FC236}">
                <a16:creationId xmlns:a16="http://schemas.microsoft.com/office/drawing/2014/main" id="{5E5D4CC0-7EA0-F11A-1AA1-05151F4AB9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63135" y="1339477"/>
            <a:ext cx="6385111" cy="3304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67660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tudenten melder interesse for HVL-skisse</a:t>
            </a:r>
          </a:p>
          <a:p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3 av 5: Studenten prioriterer prosjektskissene som studenten selv har meldt interesse for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3" name="Bilde 2" descr="Et bilde som inneholder tekst, skjermbilde, programvare, display&#10;&#10;Automatisk generert beskrivelse">
            <a:extLst>
              <a:ext uri="{FF2B5EF4-FFF2-40B4-BE49-F238E27FC236}">
                <a16:creationId xmlns:a16="http://schemas.microsoft.com/office/drawing/2014/main" id="{600F3EF5-0E99-6AAD-EAB5-236C616C45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40724" y="1346989"/>
            <a:ext cx="6407523" cy="36149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139552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tudenten melder interesse for HVL-skisse</a:t>
            </a:r>
          </a:p>
          <a:p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4 av 5: Studenten takker ja til tilbud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3" name="Bilde 2" descr="Et bilde som inneholder tekst, skjermbilde, display, programvare&#10;&#10;Automatisk generert beskrivelse">
            <a:extLst>
              <a:ext uri="{FF2B5EF4-FFF2-40B4-BE49-F238E27FC236}">
                <a16:creationId xmlns:a16="http://schemas.microsoft.com/office/drawing/2014/main" id="{8EFC8387-5B09-E741-4537-1BEF44F0BFA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02841" y="1343295"/>
            <a:ext cx="7247964" cy="3028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89413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tudenten melder interesse for HVL-skisse</a:t>
            </a:r>
          </a:p>
          <a:p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5 av 5: Studenten signerer veiledningskontrakt</a:t>
            </a:r>
          </a:p>
          <a:p>
            <a:endParaRPr lang="nb-NO" dirty="0">
              <a:latin typeface="Helvetica"/>
              <a:cs typeface="Helvetica"/>
            </a:endParaRPr>
          </a:p>
        </p:txBody>
      </p:sp>
      <p:pic>
        <p:nvPicPr>
          <p:cNvPr id="4" name="Bilde 3" descr="Et bilde som inneholder tekst, skjermbilde, programvare, Dataikon&#10;&#10;Automatisk generert beskrivelse">
            <a:extLst>
              <a:ext uri="{FF2B5EF4-FFF2-40B4-BE49-F238E27FC236}">
                <a16:creationId xmlns:a16="http://schemas.microsoft.com/office/drawing/2014/main" id="{F04821B4-B4B7-6614-79E9-8AB91B2C8BF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89929" y="2226505"/>
            <a:ext cx="7158318" cy="295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943558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24054BE-2F76-466C-BC86-B166A78E5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24054BE-2F76-466C-BC86-B166A78E5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356718C-6526-49C5-9641-FBC4C69CB1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16ADF084-D53F-4DFC-8BE0-5C639D11C9F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Brukerveiledning for </a:t>
            </a:r>
            <a:r>
              <a:rPr lang="nb-NO" dirty="0" err="1"/>
              <a:t>emneansvarlige</a:t>
            </a:r>
            <a:endParaRPr lang="nb-NO" dirty="0" err="1">
              <a:cs typeface="Arial"/>
            </a:endParaRPr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49B29919-F602-439A-8956-4E53741204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286574" cy="10512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Funksjoner, tilganger og ansvarsoppgaver</a:t>
            </a:r>
          </a:p>
        </p:txBody>
      </p:sp>
    </p:spTree>
    <p:extLst>
      <p:ext uri="{BB962C8B-B14F-4D97-AF65-F5344CB8AC3E}">
        <p14:creationId xmlns:p14="http://schemas.microsoft.com/office/powerpoint/2010/main" val="237106303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Behandling av student-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875459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 3:</a:t>
            </a:r>
          </a:p>
          <a:p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 trykker på rød pil for å se aktuell skisse. Alternativ kan man trykke på "Studenter" i menyen til venstre, og klikke seg inn på skissen for den aktuelle studenten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3" name="Bilde 2" descr="Et bilde som inneholder tekst, skjermbilde, nummer, Font&#10;&#10;Automatisk generert beskrivelse">
            <a:extLst>
              <a:ext uri="{FF2B5EF4-FFF2-40B4-BE49-F238E27FC236}">
                <a16:creationId xmlns:a16="http://schemas.microsoft.com/office/drawing/2014/main" id="{7455A59F-011D-8064-D63F-A29D9BB37E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004" y="1569817"/>
            <a:ext cx="6704091" cy="3710821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221389B8-9AC5-AEDA-BDF1-936D9C966F19}"/>
              </a:ext>
            </a:extLst>
          </p:cNvPr>
          <p:cNvSpPr txBox="1"/>
          <p:nvPr/>
        </p:nvSpPr>
        <p:spPr>
          <a:xfrm>
            <a:off x="1078872" y="5198198"/>
            <a:ext cx="3568573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400" dirty="0">
                <a:cs typeface="Arial"/>
              </a:rPr>
              <a:t>Merk: Eksterne skisser som krever godkjenning vil også være synlig i denne listen.</a:t>
            </a:r>
            <a:endParaRPr lang="nb-NO" sz="1600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45973344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Behandling av student-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87545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 3: 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 trykker på "Behandle prosjektskisse" </a:t>
            </a:r>
          </a:p>
          <a:p>
            <a:endParaRPr lang="nb-NO" dirty="0">
              <a:latin typeface="Helvetica"/>
              <a:cs typeface="Helvetica"/>
            </a:endParaRPr>
          </a:p>
        </p:txBody>
      </p:sp>
      <p:pic>
        <p:nvPicPr>
          <p:cNvPr id="2" name="Bilde 1" descr="Et bilde som inneholder tekst, skjermbilde, Font, design&#10;&#10;Automatisk generert beskrivelse">
            <a:extLst>
              <a:ext uri="{FF2B5EF4-FFF2-40B4-BE49-F238E27FC236}">
                <a16:creationId xmlns:a16="http://schemas.microsoft.com/office/drawing/2014/main" id="{B78553DF-6D5A-BDA8-0A61-B59F617729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48677" y="1646747"/>
            <a:ext cx="5217813" cy="4198249"/>
          </a:xfrm>
          <a:prstGeom prst="rect">
            <a:avLst/>
          </a:prstGeom>
        </p:spPr>
      </p:pic>
      <p:sp>
        <p:nvSpPr>
          <p:cNvPr id="3" name="TekstSylinder 2">
            <a:extLst>
              <a:ext uri="{FF2B5EF4-FFF2-40B4-BE49-F238E27FC236}">
                <a16:creationId xmlns:a16="http://schemas.microsoft.com/office/drawing/2014/main" id="{0615F5DB-B53B-A124-4C0E-1F09B022DFA3}"/>
              </a:ext>
            </a:extLst>
          </p:cNvPr>
          <p:cNvSpPr txBox="1"/>
          <p:nvPr/>
        </p:nvSpPr>
        <p:spPr>
          <a:xfrm>
            <a:off x="1163371" y="5154439"/>
            <a:ext cx="2743200" cy="73866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400" dirty="0"/>
              <a:t>Merk: For eksterne skisser vil man trykke på "Behandle temaskisse"</a:t>
            </a:r>
            <a:endParaRPr lang="nb-NO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53141817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Behandling av student-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875459" cy="120032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3 av 3: 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 godkjenner prosjektskisse med dato for innlevering, eller krever endring fra studenten.</a:t>
            </a:r>
            <a:endParaRPr lang="nb-NO" dirty="0"/>
          </a:p>
        </p:txBody>
      </p:sp>
      <p:pic>
        <p:nvPicPr>
          <p:cNvPr id="3" name="Bilde 2" descr="Et bilde som inneholder tekst, skjermbilde, Nettside, Nettsted&#10;&#10;Automatisk generert beskrivelse">
            <a:extLst>
              <a:ext uri="{FF2B5EF4-FFF2-40B4-BE49-F238E27FC236}">
                <a16:creationId xmlns:a16="http://schemas.microsoft.com/office/drawing/2014/main" id="{6661A5EE-4598-9607-3265-BA7AB0D5DE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493945" y="1688100"/>
            <a:ext cx="5210269" cy="4198533"/>
          </a:xfrm>
          <a:prstGeom prst="rect">
            <a:avLst/>
          </a:prstGeom>
        </p:spPr>
      </p:pic>
      <p:sp>
        <p:nvSpPr>
          <p:cNvPr id="4" name="TekstSylinder 3">
            <a:extLst>
              <a:ext uri="{FF2B5EF4-FFF2-40B4-BE49-F238E27FC236}">
                <a16:creationId xmlns:a16="http://schemas.microsoft.com/office/drawing/2014/main" id="{BF7470FD-8573-7EED-A158-41151C3A359F}"/>
              </a:ext>
            </a:extLst>
          </p:cNvPr>
          <p:cNvSpPr txBox="1"/>
          <p:nvPr/>
        </p:nvSpPr>
        <p:spPr>
          <a:xfrm>
            <a:off x="1246361" y="5229885"/>
            <a:ext cx="2743200" cy="954107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sz="1400" dirty="0"/>
              <a:t>Merk: Ved godkjenning av eksterne skisser vil man ikke måtte oppgi innleveringsdato for oppgave.</a:t>
            </a:r>
            <a:endParaRPr lang="nb-NO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961521962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ende tilbud om HVL-skisse til studenter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2: 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 trykker på pil under "Se skisse" for aktuell skisse. Filteret "Vis mine skisser" kan også benyttes her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3" name="Bilde 2" descr="Et bilde som inneholder tekst, skjermbilde, Font, programvare&#10;&#10;Automatisk generert beskrivelse">
            <a:extLst>
              <a:ext uri="{FF2B5EF4-FFF2-40B4-BE49-F238E27FC236}">
                <a16:creationId xmlns:a16="http://schemas.microsoft.com/office/drawing/2014/main" id="{C55C7505-8E2A-2518-54CA-44D49516FAF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39489" y="2036081"/>
            <a:ext cx="7217120" cy="3396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068614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CD77BE-745F-6A46-5C07-CA5181CAB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Formå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0576894-2BEB-D47E-8442-D8690B5B23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 i="1" dirty="0"/>
              <a:t>Masterportalen </a:t>
            </a:r>
            <a:r>
              <a:rPr lang="nb-NO" dirty="0"/>
              <a:t>er en applikasjon som </a:t>
            </a:r>
            <a:r>
              <a:rPr lang="nb-NO" dirty="0" err="1"/>
              <a:t>fasiliterer</a:t>
            </a:r>
            <a:r>
              <a:rPr lang="nb-NO" dirty="0"/>
              <a:t> og strømlinjeformer arbeidet tilknyttet blant annet oppretting, godkjenning og </a:t>
            </a:r>
            <a:r>
              <a:rPr lang="nb-NO" dirty="0">
                <a:ea typeface="+mn-lt"/>
                <a:cs typeface="+mn-lt"/>
              </a:rPr>
              <a:t>tildeling</a:t>
            </a:r>
            <a:r>
              <a:rPr lang="nb-NO" dirty="0"/>
              <a:t> av prosjektskisser.</a:t>
            </a:r>
          </a:p>
          <a:p>
            <a:r>
              <a:rPr lang="nb-NO" dirty="0">
                <a:cs typeface="Arial"/>
              </a:rPr>
              <a:t>Applikasjonen hensyntar ulike brukergruppers behov, og inneholder tilpassede grensesnitt og prosessflyt for henholdsvis studenter, veiledere, </a:t>
            </a:r>
            <a:r>
              <a:rPr lang="nb-NO" dirty="0" err="1">
                <a:cs typeface="Arial"/>
              </a:rPr>
              <a:t>emneansvarlige</a:t>
            </a:r>
            <a:r>
              <a:rPr lang="nb-NO" dirty="0">
                <a:cs typeface="Arial"/>
              </a:rPr>
              <a:t> og brukere tilknyttet eksterne organisasjoner. </a:t>
            </a:r>
          </a:p>
          <a:p>
            <a:r>
              <a:rPr lang="nb-NO" dirty="0">
                <a:cs typeface="Arial"/>
              </a:rPr>
              <a:t>Lenke til pålogging til applikasjonen finner dere på Vestibylen under </a:t>
            </a:r>
            <a:r>
              <a:rPr lang="nb-NO" dirty="0" err="1">
                <a:cs typeface="Arial"/>
              </a:rPr>
              <a:t>Tenester</a:t>
            </a:r>
            <a:r>
              <a:rPr lang="nb-NO" dirty="0">
                <a:cs typeface="Arial"/>
              </a:rPr>
              <a:t> a-å, og vil også bli lagt til i verktøy</a:t>
            </a:r>
          </a:p>
          <a:p>
            <a:r>
              <a:rPr lang="nb-NO" dirty="0">
                <a:cs typeface="Arial"/>
              </a:rPr>
              <a:t>Direkte lenke til Masterportalen: </a:t>
            </a:r>
            <a:r>
              <a:rPr lang="nb-NO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hlinkClick r:id="rId2"/>
              </a:rPr>
              <a:t>https://hvl.outsystemsenterprise.com/Masterportalen/</a:t>
            </a:r>
            <a:r>
              <a:rPr lang="nb-NO" sz="1800" u="sng" dirty="0">
                <a:solidFill>
                  <a:srgbClr val="0563C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Arial"/>
              </a:rPr>
              <a:t> </a:t>
            </a:r>
          </a:p>
          <a:p>
            <a:pPr lvl="1"/>
            <a:r>
              <a:rPr lang="nb-NO" dirty="0">
                <a:cs typeface="Arial"/>
              </a:rPr>
              <a:t>Denne lenken tar dere til en Feide-</a:t>
            </a:r>
            <a:r>
              <a:rPr lang="nb-NO" dirty="0" err="1">
                <a:cs typeface="Arial"/>
              </a:rPr>
              <a:t>innlogg</a:t>
            </a:r>
            <a:endParaRPr lang="nb-NO" dirty="0">
              <a:cs typeface="Arial"/>
            </a:endParaRPr>
          </a:p>
          <a:p>
            <a:pPr lvl="1"/>
            <a:r>
              <a:rPr lang="nb-NO" dirty="0">
                <a:cs typeface="Arial"/>
              </a:rPr>
              <a:t>Samme lenke kan deles med studenter, </a:t>
            </a:r>
            <a:r>
              <a:rPr lang="nb-NO" dirty="0" err="1">
                <a:cs typeface="Arial"/>
              </a:rPr>
              <a:t>f.eks</a:t>
            </a:r>
            <a:r>
              <a:rPr lang="nb-NO" dirty="0">
                <a:cs typeface="Arial"/>
              </a:rPr>
              <a:t> på Canvas</a:t>
            </a:r>
          </a:p>
          <a:p>
            <a:pPr lvl="1"/>
            <a:r>
              <a:rPr lang="nb-NO" dirty="0">
                <a:cs typeface="Arial"/>
              </a:rPr>
              <a:t>Pålogging skal gi brukere rett type tilganger automatisk basert på rol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ADD2D1F-5045-3FB5-54A1-CA243A1EBE8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1828B8D-DD59-3A47-9AEB-903D6FCA35C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10064473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ende tilbud om HVL-skisse til studenter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47732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 2: I bunnen av skjermen har 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 mulighet til å behandle hver enkelt student som har meldt interesse for skissen. 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2" name="Bilde 1" descr="Et bilde som inneholder tekst, skjermbilde, programvare, Nettside&#10;&#10;Automatisk generert beskrivelse">
            <a:extLst>
              <a:ext uri="{FF2B5EF4-FFF2-40B4-BE49-F238E27FC236}">
                <a16:creationId xmlns:a16="http://schemas.microsoft.com/office/drawing/2014/main" id="{C1816244-C9DD-7590-BC90-F0577C4D12D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16577" y="869298"/>
            <a:ext cx="5798745" cy="56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395838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ette veiledere på HVL-skisse og student-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2: I bunnen av skisse-visningen finner vi eventuelle veiledere som har meldt sin interesse. Disse må behandles før skissen kan bli klargjort for signering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3" name="Bilde 2" descr="Et bilde som inneholder tekst, skjermbilde, programvare, Nettside&#10;&#10;Automatisk generert beskrivelse">
            <a:extLst>
              <a:ext uri="{FF2B5EF4-FFF2-40B4-BE49-F238E27FC236}">
                <a16:creationId xmlns:a16="http://schemas.microsoft.com/office/drawing/2014/main" id="{6C642507-F53E-DD97-AC8E-3F0B5CA07B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26321" y="1236208"/>
            <a:ext cx="5338525" cy="5117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128662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3: Sette veiledere på HVL-skisse og student-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 2: Veiledere kan også settes direkte ved å trykke på blyant-ikonet i veileder-boksen. Hovedveileder på skissen settes ved hjelp av stjernemarkeringen.  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2" name="Bilde 1" descr="Et bilde som inneholder tekst, skjermbilde, programvare, Nettside&#10;&#10;Automatisk generert beskrivelse">
            <a:extLst>
              <a:ext uri="{FF2B5EF4-FFF2-40B4-BE49-F238E27FC236}">
                <a16:creationId xmlns:a16="http://schemas.microsoft.com/office/drawing/2014/main" id="{C6B5F56E-75D7-4C67-2A99-61F90B3BFA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79271" y="1570830"/>
            <a:ext cx="5730843" cy="4734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531232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4: Åpne for signering av masterkontrakt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2: Fra studentlisten kan 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varlig</a:t>
            </a:r>
            <a:r>
              <a:rPr lang="nb-NO" dirty="0">
                <a:latin typeface="Helvetica"/>
                <a:ea typeface="Helvetica"/>
                <a:cs typeface="Helvetica"/>
              </a:rPr>
              <a:t> trykke "Åpne for signering" for de studentene som har fått tildelt skisse og veileder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4" name="Bilde 3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843C4237-698E-CDCF-7477-AE361E3BD43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26182" y="1457234"/>
            <a:ext cx="6485298" cy="4049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78671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4: Åpne for signering av masterkontrakt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294529" cy="1754326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 2: Ved å </a:t>
            </a:r>
            <a:r>
              <a:rPr lang="nb-NO" dirty="0" err="1">
                <a:latin typeface="Helvetica"/>
                <a:ea typeface="Helvetica"/>
                <a:cs typeface="Helvetica"/>
              </a:rPr>
              <a:t>toggle</a:t>
            </a:r>
            <a:r>
              <a:rPr lang="nb-NO" dirty="0">
                <a:latin typeface="Helvetica"/>
                <a:ea typeface="Helvetica"/>
                <a:cs typeface="Helvetica"/>
              </a:rPr>
              <a:t> "Vis purrefunksjonalitet" har 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 også mulighet til å purre på både kontraktsignering og prosjektskisse.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6" name="Bilde 5" descr="Et bilde som inneholder tekst, skjermbilde, Font, programvare&#10;&#10;Automatisk generert beskrivelse">
            <a:extLst>
              <a:ext uri="{FF2B5EF4-FFF2-40B4-BE49-F238E27FC236}">
                <a16:creationId xmlns:a16="http://schemas.microsoft.com/office/drawing/2014/main" id="{711A3ED0-D231-1F0A-5BA8-C9A6371503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0560" y="1646903"/>
            <a:ext cx="6213694" cy="46279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11840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24054BE-2F76-466C-BC86-B166A78E5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24054BE-2F76-466C-BC86-B166A78E5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356718C-6526-49C5-9641-FBC4C69CB1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16ADF084-D53F-4DFC-8BE0-5C639D11C9F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Brukerveiledning for veiledere</a:t>
            </a:r>
            <a:endParaRPr lang="nb-NO" dirty="0" err="1">
              <a:cs typeface="Arial"/>
            </a:endParaRPr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49B29919-F602-439A-8956-4E53741204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286574" cy="10512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Funksjoner, tilganger og ansvarsoppgaver</a:t>
            </a:r>
          </a:p>
        </p:txBody>
      </p:sp>
    </p:spTree>
    <p:extLst>
      <p:ext uri="{BB962C8B-B14F-4D97-AF65-F5344CB8AC3E}">
        <p14:creationId xmlns:p14="http://schemas.microsoft.com/office/powerpoint/2010/main" val="585655622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Melde interesse for prosjekt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87545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 2:</a:t>
            </a:r>
          </a:p>
          <a:p>
            <a:r>
              <a:rPr lang="nb-NO" dirty="0">
                <a:latin typeface="Helvetica"/>
                <a:ea typeface="Helvetica"/>
                <a:cs typeface="Helvetica"/>
              </a:rPr>
              <a:t>Veileder trykker på rød pil for å se på aktuelle skisser. 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3" name="Bilde 2" descr="Et bilde som inneholder tekst, skjermbilde, nummer, Font&#10;&#10;Automatisk generert beskrivelse">
            <a:extLst>
              <a:ext uri="{FF2B5EF4-FFF2-40B4-BE49-F238E27FC236}">
                <a16:creationId xmlns:a16="http://schemas.microsoft.com/office/drawing/2014/main" id="{7455A59F-011D-8064-D63F-A29D9BB37E4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96004" y="1569817"/>
            <a:ext cx="6704091" cy="37108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088371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Melde interesse for prosjektskisse</a:t>
            </a:r>
            <a:endParaRPr lang="nb-NO" dirty="0">
              <a:cs typeface="Arial"/>
            </a:endParaRPr>
          </a:p>
        </p:txBody>
      </p:sp>
      <p:sp>
        <p:nvSpPr>
          <p:cNvPr id="8" name="TekstSylinder 7">
            <a:extLst>
              <a:ext uri="{FF2B5EF4-FFF2-40B4-BE49-F238E27FC236}">
                <a16:creationId xmlns:a16="http://schemas.microsoft.com/office/drawing/2014/main" id="{3E8DE805-318B-3075-4586-2AB8753D35EE}"/>
              </a:ext>
            </a:extLst>
          </p:cNvPr>
          <p:cNvSpPr txBox="1"/>
          <p:nvPr/>
        </p:nvSpPr>
        <p:spPr>
          <a:xfrm>
            <a:off x="986117" y="1647264"/>
            <a:ext cx="387545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2 av 2:</a:t>
            </a:r>
          </a:p>
          <a:p>
            <a:r>
              <a:rPr lang="nb-NO" dirty="0">
                <a:latin typeface="Helvetica"/>
                <a:ea typeface="Helvetica"/>
                <a:cs typeface="Helvetica"/>
              </a:rPr>
              <a:t>Veileder trykker "Meld interesse som veileder" på aktuell skisse. </a:t>
            </a:r>
            <a:endParaRPr lang="nb-NO" dirty="0">
              <a:latin typeface="Helvetica"/>
              <a:cs typeface="Helvetica"/>
            </a:endParaRPr>
          </a:p>
        </p:txBody>
      </p:sp>
      <p:pic>
        <p:nvPicPr>
          <p:cNvPr id="2" name="Bilde 1" descr="Et bilde som inneholder tekst, skjermbilde, programvare, Nettside&#10;&#10;Automatisk generert beskrivelse">
            <a:extLst>
              <a:ext uri="{FF2B5EF4-FFF2-40B4-BE49-F238E27FC236}">
                <a16:creationId xmlns:a16="http://schemas.microsoft.com/office/drawing/2014/main" id="{4315365F-186B-6CBB-AB7D-A382817C18A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28104" y="1269677"/>
            <a:ext cx="6447575" cy="48014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108013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CFE6A774-2609-2882-A9BA-571F302A03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2: Signering av masterkontrakt</a:t>
            </a:r>
            <a:endParaRPr lang="nb-NO" dirty="0">
              <a:cs typeface="Arial"/>
            </a:endParaRPr>
          </a:p>
        </p:txBody>
      </p:sp>
      <p:pic>
        <p:nvPicPr>
          <p:cNvPr id="3" name="Bilde 2" descr="Et bilde som inneholder tekst, skjermbilde, Font, nummer&#10;&#10;Automatisk generert beskrivelse">
            <a:extLst>
              <a:ext uri="{FF2B5EF4-FFF2-40B4-BE49-F238E27FC236}">
                <a16:creationId xmlns:a16="http://schemas.microsoft.com/office/drawing/2014/main" id="{F9580F1E-E5DA-B39D-3302-399F7227735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03687" y="1803412"/>
            <a:ext cx="7020962" cy="3145552"/>
          </a:xfrm>
          <a:prstGeom prst="rect">
            <a:avLst/>
          </a:prstGeom>
        </p:spPr>
      </p:pic>
      <p:sp>
        <p:nvSpPr>
          <p:cNvPr id="6" name="TekstSylinder 5">
            <a:extLst>
              <a:ext uri="{FF2B5EF4-FFF2-40B4-BE49-F238E27FC236}">
                <a16:creationId xmlns:a16="http://schemas.microsoft.com/office/drawing/2014/main" id="{A42C8A53-3781-350F-4F4B-52B1AF0DB202}"/>
              </a:ext>
            </a:extLst>
          </p:cNvPr>
          <p:cNvSpPr txBox="1"/>
          <p:nvPr/>
        </p:nvSpPr>
        <p:spPr>
          <a:xfrm>
            <a:off x="986117" y="1647264"/>
            <a:ext cx="3875459" cy="203132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1:</a:t>
            </a:r>
            <a:endParaRPr lang="en-US" dirty="0">
              <a:latin typeface="Helvetica"/>
              <a:ea typeface="Helvetica"/>
              <a:cs typeface="Helvetica"/>
            </a:endParaRPr>
          </a:p>
          <a:p>
            <a:r>
              <a:rPr lang="nb-NO" dirty="0">
                <a:latin typeface="Helvetica"/>
                <a:ea typeface="Helvetica"/>
                <a:cs typeface="Helvetica"/>
              </a:rPr>
              <a:t>Dersom prosjektskissen er ferdig behandlet av </a:t>
            </a:r>
            <a:r>
              <a:rPr lang="nb-NO" dirty="0" err="1">
                <a:latin typeface="Helvetica"/>
                <a:ea typeface="Helvetica"/>
                <a:cs typeface="Helvetica"/>
              </a:rPr>
              <a:t>emneansvarlig</a:t>
            </a:r>
            <a:r>
              <a:rPr lang="nb-NO" dirty="0">
                <a:latin typeface="Helvetica"/>
                <a:ea typeface="Helvetica"/>
                <a:cs typeface="Helvetica"/>
              </a:rPr>
              <a:t>, og signert av studentene, kan veileder trykke "Signer kontrakt" fra "Studenter"-skjermen. </a:t>
            </a:r>
          </a:p>
          <a:p>
            <a:endParaRPr lang="nb-NO" dirty="0">
              <a:latin typeface="Helvetica"/>
              <a:cs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418791408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A3EC313C-5012-4C66-9D5D-26558408592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9186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26" imgH="526" progId="TCLayout.ActiveDocument.1">
                  <p:embed/>
                </p:oleObj>
              </mc:Choice>
              <mc:Fallback>
                <p:oleObj name="think-cell Slide" r:id="rId4" imgW="526" imgH="526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A3EC313C-5012-4C66-9D5D-2655840859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DC2735E7-A503-4315-92DB-012A57CA3A7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1955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068A3-64B7-DF52-8E24-3843543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oller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A5A9B5-1B3F-1B01-7E44-81269B74AA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 fontScale="92500" lnSpcReduction="10000"/>
          </a:bodyPr>
          <a:lstStyle/>
          <a:p>
            <a:r>
              <a:rPr lang="nb-NO" b="1" dirty="0"/>
              <a:t>Student</a:t>
            </a:r>
          </a:p>
          <a:p>
            <a:pPr lvl="1"/>
            <a:r>
              <a:rPr lang="nb-NO" dirty="0"/>
              <a:t>Hvem: Studenter</a:t>
            </a:r>
          </a:p>
          <a:p>
            <a:pPr lvl="1"/>
            <a:r>
              <a:rPr lang="nb-NO" dirty="0"/>
              <a:t>Hva: Opprette egne prosjektskisser og melde interesse for foreslåtte HVL-prosjektskisser.</a:t>
            </a:r>
          </a:p>
          <a:p>
            <a:r>
              <a:rPr lang="nb-NO" b="1" dirty="0"/>
              <a:t>Supervisor</a:t>
            </a:r>
          </a:p>
          <a:p>
            <a:r>
              <a:rPr lang="nb-NO" dirty="0"/>
              <a:t>Hvem: Veiledere og </a:t>
            </a:r>
            <a:r>
              <a:rPr lang="nb-NO" dirty="0" err="1"/>
              <a:t>medveiledere</a:t>
            </a:r>
            <a:endParaRPr lang="nb-NO" dirty="0"/>
          </a:p>
          <a:p>
            <a:pPr lvl="1"/>
            <a:r>
              <a:rPr lang="nb-NO" dirty="0"/>
              <a:t>Hva: </a:t>
            </a:r>
            <a:r>
              <a:rPr lang="nb-NO" dirty="0">
                <a:ea typeface="+mn-lt"/>
                <a:cs typeface="+mn-lt"/>
              </a:rPr>
              <a:t>Opprette egne prosjektskisser og melde veileder-interesse for foreslåtte HVL-prosjektskisser. Kan også tildele HVL-prosjektskisser til studenter og sette veiledere for skisser hvor vedkommende </a:t>
            </a:r>
            <a:r>
              <a:rPr lang="nb-NO" dirty="0" err="1">
                <a:ea typeface="+mn-lt"/>
                <a:cs typeface="+mn-lt"/>
              </a:rPr>
              <a:t>sjølv</a:t>
            </a:r>
            <a:r>
              <a:rPr lang="nb-NO">
                <a:ea typeface="+mn-lt"/>
                <a:cs typeface="+mn-lt"/>
              </a:rPr>
              <a:t> er oppført som veileder.</a:t>
            </a:r>
            <a:endParaRPr lang="nb-NO" dirty="0">
              <a:solidFill>
                <a:srgbClr val="000000"/>
              </a:solidFill>
              <a:ea typeface="+mn-lt"/>
              <a:cs typeface="+mn-lt"/>
            </a:endParaRPr>
          </a:p>
          <a:p>
            <a:r>
              <a:rPr lang="nb-NO" b="1" err="1">
                <a:ea typeface="+mn-lt"/>
                <a:cs typeface="+mn-lt"/>
              </a:rPr>
              <a:t>MasterSubjectResponsible</a:t>
            </a:r>
            <a:endParaRPr lang="nb-NO" b="1">
              <a:ea typeface="+mn-lt"/>
              <a:cs typeface="+mn-lt"/>
            </a:endParaRPr>
          </a:p>
          <a:p>
            <a:pPr lvl="1"/>
            <a:r>
              <a:rPr lang="nb-NO" dirty="0">
                <a:ea typeface="+mn-lt"/>
                <a:cs typeface="+mn-lt"/>
              </a:rPr>
              <a:t>Hvem: </a:t>
            </a:r>
            <a:r>
              <a:rPr lang="nb-NO" dirty="0" err="1">
                <a:ea typeface="+mn-lt"/>
                <a:cs typeface="+mn-lt"/>
              </a:rPr>
              <a:t>Emneansvarlige</a:t>
            </a:r>
            <a:endParaRPr lang="en-US" dirty="0" err="1">
              <a:ea typeface="+mn-lt"/>
              <a:cs typeface="+mn-lt"/>
            </a:endParaRPr>
          </a:p>
          <a:p>
            <a:pPr lvl="1"/>
            <a:r>
              <a:rPr lang="nb-NO" dirty="0">
                <a:ea typeface="+mn-lt"/>
                <a:cs typeface="+mn-lt"/>
              </a:rPr>
              <a:t>Hva: Opprette egne prosjektskisser, behandle eksternes temaskisser, behandle </a:t>
            </a:r>
            <a:r>
              <a:rPr lang="nb-NO">
                <a:ea typeface="+mn-lt"/>
                <a:cs typeface="+mn-lt"/>
              </a:rPr>
              <a:t>studenters egne skisser, tildele HVL-prosjektskisser til studenter og sette veiledere.</a:t>
            </a:r>
            <a:endParaRPr lang="en-US" dirty="0">
              <a:ea typeface="+mn-lt"/>
              <a:cs typeface="+mn-lt"/>
            </a:endParaRPr>
          </a:p>
          <a:p>
            <a:r>
              <a:rPr lang="nb-NO" b="1" err="1">
                <a:ea typeface="+mn-lt"/>
                <a:cs typeface="+mn-lt"/>
              </a:rPr>
              <a:t>ExternalIndividual</a:t>
            </a:r>
            <a:endParaRPr lang="en-US" err="1">
              <a:ea typeface="+mn-lt"/>
              <a:cs typeface="+mn-lt"/>
            </a:endParaRPr>
          </a:p>
          <a:p>
            <a:pPr lvl="1"/>
            <a:r>
              <a:rPr lang="nb-NO" dirty="0">
                <a:ea typeface="+mn-lt"/>
                <a:cs typeface="+mn-lt"/>
              </a:rPr>
              <a:t>Hvem: Eksterne brukere med knytning til bedrift</a:t>
            </a:r>
            <a:endParaRPr lang="en-US" dirty="0">
              <a:ea typeface="+mn-lt"/>
              <a:cs typeface="+mn-lt"/>
            </a:endParaRPr>
          </a:p>
          <a:p>
            <a:pPr lvl="1"/>
            <a:r>
              <a:rPr lang="nb-NO">
                <a:ea typeface="+mn-lt"/>
                <a:cs typeface="+mn-lt"/>
              </a:rPr>
              <a:t>Hva: Opprette temaskisser som studenter kan basere sine prosjektskisser på.</a:t>
            </a:r>
            <a:endParaRPr lang="nb-NO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55EEF6-5A17-4CA3-26BD-65989E8148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9A0C25-8BFA-57FA-B1CA-986C47AA80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419033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91068A3-64B7-DF52-8E24-3843543CD1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Roller </a:t>
            </a:r>
            <a:r>
              <a:rPr lang="nb-NO">
                <a:ea typeface="+mj-lt"/>
                <a:cs typeface="+mj-lt"/>
              </a:rPr>
              <a:t>(2/2)</a:t>
            </a:r>
          </a:p>
          <a:p>
            <a:endParaRPr lang="nb-NO">
              <a:cs typeface="Arial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A5A9B5-1B3F-1B01-7E44-81269B74AAC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 vert="horz" lIns="0" tIns="0" rIns="0" bIns="0" rtlCol="0" anchor="t">
            <a:normAutofit/>
          </a:bodyPr>
          <a:lstStyle/>
          <a:p>
            <a:r>
              <a:rPr lang="nb-NO" b="1"/>
              <a:t>MasterportalenAdmin</a:t>
            </a:r>
          </a:p>
          <a:p>
            <a:pPr lvl="1"/>
            <a:r>
              <a:rPr lang="nb-NO"/>
              <a:t>Hvem: HVL-ansatte med behov for å administrere løsningen</a:t>
            </a:r>
          </a:p>
          <a:p>
            <a:pPr lvl="1"/>
            <a:r>
              <a:rPr lang="nb-NO"/>
              <a:t>Hva: Masterview over studenters prosjektskisse-status. Mulighet til å redigere innholdet i 'avtale om veiledning for mastergradsstudenter'</a:t>
            </a:r>
            <a:endParaRPr lang="nb-NO">
              <a:cs typeface="Arial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55EEF6-5A17-4CA3-26BD-65989E81487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39A0C25-8BFA-57FA-B1CA-986C47AA80E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0BEE4E4-E047-6A49-BCB9-4D06E7BA237B}" type="slidenum">
              <a:rPr lang="nb-NO" smtClean="0"/>
              <a:pPr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787229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C24054BE-2F76-466C-BC86-B166A78E5CC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C24054BE-2F76-466C-BC86-B166A78E5C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6356718C-6526-49C5-9641-FBC4C69CB1CC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nb-NO" sz="280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Tittel 2">
            <a:extLst>
              <a:ext uri="{FF2B5EF4-FFF2-40B4-BE49-F238E27FC236}">
                <a16:creationId xmlns:a16="http://schemas.microsoft.com/office/drawing/2014/main" id="{16ADF084-D53F-4DFC-8BE0-5C639D11C9F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/>
              <a:t>Brukerveiledning for studenter</a:t>
            </a:r>
          </a:p>
        </p:txBody>
      </p:sp>
      <p:sp>
        <p:nvSpPr>
          <p:cNvPr id="4" name="Undertittel 3">
            <a:extLst>
              <a:ext uri="{FF2B5EF4-FFF2-40B4-BE49-F238E27FC236}">
                <a16:creationId xmlns:a16="http://schemas.microsoft.com/office/drawing/2014/main" id="{49B29919-F602-439A-8956-4E537412044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09426" y="3703967"/>
            <a:ext cx="5286574" cy="1051200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nb-NO"/>
              <a:t>Funksjoner, tilganger og ansvarsoppgaver</a:t>
            </a:r>
          </a:p>
        </p:txBody>
      </p:sp>
    </p:spTree>
    <p:extLst>
      <p:ext uri="{BB962C8B-B14F-4D97-AF65-F5344CB8AC3E}">
        <p14:creationId xmlns:p14="http://schemas.microsoft.com/office/powerpoint/2010/main" val="23932738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556AF5-87FF-E4E6-3D36-8702CE6E0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De ulike prosjektskisseflytene sett fra studentens perspektiv</a:t>
            </a:r>
          </a:p>
        </p:txBody>
      </p:sp>
      <p:pic>
        <p:nvPicPr>
          <p:cNvPr id="4" name="Bilde 3" descr="Et bilde som inneholder tekst, diagram, skjermbilde, design&#10;&#10;Automatisk generert beskrivelse">
            <a:extLst>
              <a:ext uri="{FF2B5EF4-FFF2-40B4-BE49-F238E27FC236}">
                <a16:creationId xmlns:a16="http://schemas.microsoft.com/office/drawing/2014/main" id="{7440EE60-EDCD-A4C8-41B8-F197767BD1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44282" y="1341621"/>
            <a:ext cx="9294375" cy="3932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521266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 descr="Et bilde som inneholder tekst, diagram, skjermbilde, design&#10;&#10;Automatisk generert beskrivelse">
            <a:extLst>
              <a:ext uri="{FF2B5EF4-FFF2-40B4-BE49-F238E27FC236}">
                <a16:creationId xmlns:a16="http://schemas.microsoft.com/office/drawing/2014/main" id="{03D45A97-6232-4A7B-54C5-1DA38377E9C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76829" y="893112"/>
            <a:ext cx="8258402" cy="5877604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 av 3: Studenter oppretter sin egen prosjektskisse</a:t>
            </a:r>
          </a:p>
        </p:txBody>
      </p:sp>
    </p:spTree>
    <p:extLst>
      <p:ext uri="{BB962C8B-B14F-4D97-AF65-F5344CB8AC3E}">
        <p14:creationId xmlns:p14="http://schemas.microsoft.com/office/powerpoint/2010/main" val="342808877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F66EE72-B813-2737-6311-7CD378C0D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09976" y="-2081"/>
            <a:ext cx="10926000" cy="1350000"/>
          </a:xfrm>
        </p:spPr>
        <p:txBody>
          <a:bodyPr/>
          <a:lstStyle/>
          <a:p>
            <a:r>
              <a:rPr lang="nb-NO" dirty="0"/>
              <a:t>Scenario 1: Studenter oppretter sin egen prosjektskisse</a:t>
            </a:r>
          </a:p>
        </p:txBody>
      </p:sp>
      <p:pic>
        <p:nvPicPr>
          <p:cNvPr id="7" name="Bilde 6" descr="Et bilde som inneholder tekst, skjermbilde, Font, programvare&#10;&#10;Automatisk generert beskrivelse">
            <a:extLst>
              <a:ext uri="{FF2B5EF4-FFF2-40B4-BE49-F238E27FC236}">
                <a16:creationId xmlns:a16="http://schemas.microsoft.com/office/drawing/2014/main" id="{201D7132-9DF3-831D-B69A-818B74A135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55341" y="902317"/>
            <a:ext cx="5992906" cy="5064571"/>
          </a:xfrm>
          <a:prstGeom prst="rect">
            <a:avLst/>
          </a:prstGeom>
        </p:spPr>
      </p:pic>
      <p:sp>
        <p:nvSpPr>
          <p:cNvPr id="2" name="TekstSylinder 1">
            <a:extLst>
              <a:ext uri="{FF2B5EF4-FFF2-40B4-BE49-F238E27FC236}">
                <a16:creationId xmlns:a16="http://schemas.microsoft.com/office/drawing/2014/main" id="{9D41B9D5-6FCD-10CA-3949-BB3B0D47D43C}"/>
              </a:ext>
            </a:extLst>
          </p:cNvPr>
          <p:cNvSpPr txBox="1"/>
          <p:nvPr/>
        </p:nvSpPr>
        <p:spPr>
          <a:xfrm>
            <a:off x="986117" y="1647264"/>
            <a:ext cx="3294529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nb-NO" dirty="0">
                <a:latin typeface="Helvetica"/>
                <a:ea typeface="Helvetica"/>
                <a:cs typeface="Helvetica"/>
              </a:rPr>
              <a:t>Illustrasjon 1 av 4: Studenten trykker "Opprett ny prosjektskisse".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8036860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46&quot;/&gt;&lt;CPresentation id=&quot;1&quot;&gt;&lt;m_precDefaultNumber&gt;&lt;m_yearfmt&gt;&lt;begin val=&quot;0&quot;/&gt;&lt;end val=&quot;4&quot;/&gt;&lt;/m_yearfmt&gt;&lt;/m_precDefaultNumber&gt;&lt;m_precDefaultPercent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.UeZD3Pd1xYe06SCh9J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QFek0iMyFI8Et1HLCesp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v1dAHthc85st4kQTc7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F5PI7mX6ppYEH701NEC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rX71GgPnPlic5_XKPk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KhGF4Yb2xQ54snVNWCE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.DyhF_Zj5E8XQSZbwYd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Yipl2oFZpxzGxb8pifJR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7Mnv.QKIiEYGHkXBWNT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R9X50q0iKye_DlZ73F6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39gNbJsz0O1tbaHJ.DO1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IbTMjdXYIb8jmTe9T7nW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I4uI5XMNVGqvtEaGy.M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BwMBMTFx_qhqGlAo5g4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TU_RF51aY4n_VPmaSJe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KlUPDqGC0xo1C6GyumD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V3CNxjgmmcHZQbOGmMY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e20d.L_poiBY_Qm3DD.6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cxNaUW_rMPKCPwiwtza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9Q0hQLxTFwzZG0axW2H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K6IOjqnmqWMLWeGAAEPp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VjFh44zkJVB2KECbYT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rtfii8s1RDxRFE0k6zL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rtfii8s1RDxRFE0k6zL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rtfii8s1RDxRFE0k6zL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rtfii8s1RDxRFE0k6zL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OfsdZpfHoNEIaN8hTDf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CClFz3dmmICxM8Vjw7Hg"/>
</p:tagLst>
</file>

<file path=ppt/theme/theme1.xml><?xml version="1.0" encoding="utf-8"?>
<a:theme xmlns:a="http://schemas.openxmlformats.org/drawingml/2006/main" name="Office-tema">
  <a:themeElements>
    <a:clrScheme name="Avo Consulting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FF09D"/>
      </a:accent1>
      <a:accent2>
        <a:srgbClr val="F48161"/>
      </a:accent2>
      <a:accent3>
        <a:srgbClr val="FFD9C6"/>
      </a:accent3>
      <a:accent4>
        <a:srgbClr val="3D56C1"/>
      </a:accent4>
      <a:accent5>
        <a:srgbClr val="601D33"/>
      </a:accent5>
      <a:accent6>
        <a:srgbClr val="E54E4E"/>
      </a:accent6>
      <a:hlink>
        <a:srgbClr val="0563C1"/>
      </a:hlink>
      <a:folHlink>
        <a:srgbClr val="954F72"/>
      </a:folHlink>
    </a:clrScheme>
    <a:fontScheme name="AV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rgbClr val="0070C0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AVO_PPTmal" id="{ACCB7A37-1462-4AAA-84FF-CB0DBD06F637}" vid="{93293DDF-6802-40D0-9791-FA2A7F540792}"/>
    </a:ext>
  </a:extLst>
</a:theme>
</file>

<file path=ppt/theme/theme2.xml><?xml version="1.0" encoding="utf-8"?>
<a:theme xmlns:a="http://schemas.openxmlformats.org/drawingml/2006/main" name="HVL">
  <a:themeElements>
    <a:clrScheme name="HVL">
      <a:dk1>
        <a:srgbClr val="515151"/>
      </a:dk1>
      <a:lt1>
        <a:srgbClr val="FFFFFF"/>
      </a:lt1>
      <a:dk2>
        <a:srgbClr val="004357"/>
      </a:dk2>
      <a:lt2>
        <a:srgbClr val="C9D5DA"/>
      </a:lt2>
      <a:accent1>
        <a:srgbClr val="00AFBA"/>
      </a:accent1>
      <a:accent2>
        <a:srgbClr val="97DF9A"/>
      </a:accent2>
      <a:accent3>
        <a:srgbClr val="EB6852"/>
      </a:accent3>
      <a:accent4>
        <a:srgbClr val="F9DE45"/>
      </a:accent4>
      <a:accent5>
        <a:srgbClr val="64D0DF"/>
      </a:accent5>
      <a:accent6>
        <a:srgbClr val="6D2439"/>
      </a:accent6>
      <a:hlink>
        <a:srgbClr val="008AAF"/>
      </a:hlink>
      <a:folHlink>
        <a:srgbClr val="009482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HVL_ppt_mal_oppdatert" id="{34A3C5B7-7DCF-A541-AE3D-AB30F07D0F84}" vid="{252C16CA-3E9D-B540-84BD-D5E99CBB698B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15960F5C2AA1C4D93910D018339F05C" ma:contentTypeVersion="12" ma:contentTypeDescription="Opprett et nytt dokument." ma:contentTypeScope="" ma:versionID="ad61bf89cea25e690ec9450babdb6b66">
  <xsd:schema xmlns:xsd="http://www.w3.org/2001/XMLSchema" xmlns:xs="http://www.w3.org/2001/XMLSchema" xmlns:p="http://schemas.microsoft.com/office/2006/metadata/properties" xmlns:ns2="15264350-e8da-477c-aa1d-d843be8cafdd" xmlns:ns3="d329714b-c9c0-441e-8513-97f9e72e1f84" targetNamespace="http://schemas.microsoft.com/office/2006/metadata/properties" ma:root="true" ma:fieldsID="5dd3d368a52197ec4390b780ad6d5f8a" ns2:_="" ns3:_="">
    <xsd:import namespace="15264350-e8da-477c-aa1d-d843be8cafdd"/>
    <xsd:import namespace="d329714b-c9c0-441e-8513-97f9e72e1f84"/>
    <xsd:element name="properties">
      <xsd:complexType>
        <xsd:sequence>
          <xsd:element name="documentManagement">
            <xsd:complexType>
              <xsd:all>
                <xsd:element ref="ns2:j25543a5815d485da9a5e0773ad762e9" minOccurs="0"/>
                <xsd:element ref="ns2:TaxCatchAll" minOccurs="0"/>
                <xsd:element ref="ns3:MediaServiceMetadata" minOccurs="0"/>
                <xsd:element ref="ns3:MediaServiceFastMetadata" minOccurs="0"/>
                <xsd:element ref="ns3:lcf76f155ced4ddcb4097134ff3c332f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  <xsd:element ref="ns3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5264350-e8da-477c-aa1d-d843be8cafdd" elementFormDefault="qualified">
    <xsd:import namespace="http://schemas.microsoft.com/office/2006/documentManagement/types"/>
    <xsd:import namespace="http://schemas.microsoft.com/office/infopath/2007/PartnerControls"/>
    <xsd:element name="j25543a5815d485da9a5e0773ad762e9" ma:index="9" nillable="true" ma:taxonomy="true" ma:internalName="j25543a5815d485da9a5e0773ad762e9" ma:taxonomyFieldName="GtProjectPhase" ma:displayName="Fase" ma:fieldId="{325543a5-815d-485d-a9a5-e0773ad762e9}" ma:sspId="d5ac12ea-e064-4df2-9638-65326f4f9ee2" ma:termSetId="abcfc9d9-a263-4abb-8234-be973c46258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0" nillable="true" ma:displayName="Taxonomy Catch All Column" ma:hidden="true" ma:list="{32851fce-7f3b-4e04-bdf4-3910a135506b}" ma:internalName="TaxCatchAll" ma:showField="CatchAllData" ma:web="15264350-e8da-477c-aa1d-d843be8cafdd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329714b-c9c0-441e-8513-97f9e72e1f8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4" nillable="true" ma:taxonomy="true" ma:internalName="lcf76f155ced4ddcb4097134ff3c332f" ma:taxonomyFieldName="MediaServiceImageTags" ma:displayName="Bildemerkelapper" ma:readOnly="false" ma:fieldId="{5cf76f15-5ced-4ddc-b409-7134ff3c332f}" ma:taxonomyMulti="true" ma:sspId="d5ac12ea-e064-4df2-9638-65326f4f9ee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8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9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15264350-e8da-477c-aa1d-d843be8cafdd" xsi:nil="true"/>
    <j25543a5815d485da9a5e0773ad762e9 xmlns="15264350-e8da-477c-aa1d-d843be8cafdd">
      <Terms xmlns="http://schemas.microsoft.com/office/infopath/2007/PartnerControls"/>
    </j25543a5815d485da9a5e0773ad762e9>
    <lcf76f155ced4ddcb4097134ff3c332f xmlns="d329714b-c9c0-441e-8513-97f9e72e1f84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C51F11B9-4FEA-4309-B71B-8B3AE09B0C1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5264350-e8da-477c-aa1d-d843be8cafdd"/>
    <ds:schemaRef ds:uri="d329714b-c9c0-441e-8513-97f9e72e1f8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A74FB06-324F-44C0-A591-0CCCDF62EFB9}">
  <ds:schemaRefs>
    <ds:schemaRef ds:uri="http://purl.org/dc/terms/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dcmitype/"/>
    <ds:schemaRef ds:uri="d329714b-c9c0-441e-8513-97f9e72e1f84"/>
    <ds:schemaRef ds:uri="15264350-e8da-477c-aa1d-d843be8cafdd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08216FBE-321B-435B-BF2D-4C26626FCF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AVO_PPTmal</Template>
  <TotalTime>0</TotalTime>
  <Words>1092</Words>
  <Application>Microsoft Office PowerPoint</Application>
  <PresentationFormat>Widescreen</PresentationFormat>
  <Paragraphs>110</Paragraphs>
  <Slides>39</Slides>
  <Notes>6</Notes>
  <HiddenSlides>2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39</vt:i4>
      </vt:variant>
    </vt:vector>
  </HeadingPairs>
  <TitlesOfParts>
    <vt:vector size="48" baseType="lpstr">
      <vt:lpstr>.AppleSystemUIFont</vt:lpstr>
      <vt:lpstr>Arial</vt:lpstr>
      <vt:lpstr>Calibri</vt:lpstr>
      <vt:lpstr>Georgia</vt:lpstr>
      <vt:lpstr>Helvetica</vt:lpstr>
      <vt:lpstr>Wingdings</vt:lpstr>
      <vt:lpstr>Office-tema</vt:lpstr>
      <vt:lpstr>HVL</vt:lpstr>
      <vt:lpstr>think-cell Slide</vt:lpstr>
      <vt:lpstr>Brukerveiledning</vt:lpstr>
      <vt:lpstr>Introduksjon</vt:lpstr>
      <vt:lpstr>Formål</vt:lpstr>
      <vt:lpstr>Roller (1/2)</vt:lpstr>
      <vt:lpstr>Roller (2/2) </vt:lpstr>
      <vt:lpstr>Brukerveiledning for studenter</vt:lpstr>
      <vt:lpstr>De ulike prosjektskisseflytene sett fra studentens perspektiv</vt:lpstr>
      <vt:lpstr>Scenario 1 av 3: Studenter oppretter sin egen prosjektskisse</vt:lpstr>
      <vt:lpstr>Scenario 1: Studenter oppretter sin egen prosjektskisse</vt:lpstr>
      <vt:lpstr>Scenario 1: Studenter oppretter sin egen prosjektskisse</vt:lpstr>
      <vt:lpstr>Scenario 1: Studenter oppretter sin egen prosjektskisse</vt:lpstr>
      <vt:lpstr>Scenario 1: Studenter oppretter sin egen prosjektskisse</vt:lpstr>
      <vt:lpstr>Scenario 2 av 3: Studenten velger temaskisse opprettet av ekstern</vt:lpstr>
      <vt:lpstr>Scenario 2: Studenten velger temaskisse opprettet av ekstern</vt:lpstr>
      <vt:lpstr>Scenario 2: Studenten velger temaskisse opprettet av ekstern</vt:lpstr>
      <vt:lpstr>Scenario 2: Studenten velger temaskisse opprettet av ekstern </vt:lpstr>
      <vt:lpstr>Scenario 2: Studenten velger temaskisse opprettet av ekstern </vt:lpstr>
      <vt:lpstr>Scenario 2: Studenten velger temaskisse opprettet av ekstern </vt:lpstr>
      <vt:lpstr>Scenario 3 av 3: Studenten melder interesse for HVL-skisse</vt:lpstr>
      <vt:lpstr>Scenario 3: Studenten melder interesse for HVL-skisse </vt:lpstr>
      <vt:lpstr>Scenario 3: Studenten melder interesse for HVL-skisse </vt:lpstr>
      <vt:lpstr>Scenario 3: Studenten melder interesse for HVL-skisse </vt:lpstr>
      <vt:lpstr>Scenario 3: Studenten melder interesse for HVL-skisse </vt:lpstr>
      <vt:lpstr>Scenario 3: Studenten melder interesse for HVL-skisse </vt:lpstr>
      <vt:lpstr>Brukerveiledning for emneansvarlige</vt:lpstr>
      <vt:lpstr>Scenario 1: Behandling av student-skisse</vt:lpstr>
      <vt:lpstr>Scenario 1: Behandling av student-skisse</vt:lpstr>
      <vt:lpstr>Scenario 1: Behandling av student-skisse</vt:lpstr>
      <vt:lpstr>Scenario 2: Sende tilbud om HVL-skisse til studenter</vt:lpstr>
      <vt:lpstr>Scenario 2: Sende tilbud om HVL-skisse til studenter</vt:lpstr>
      <vt:lpstr>Scenario 3: Sette veiledere på HVL-skisse og student-skisse</vt:lpstr>
      <vt:lpstr>Scenario 3: Sette veiledere på HVL-skisse og student-skisse</vt:lpstr>
      <vt:lpstr>Scenario 4: Åpne for signering av masterkontrakt</vt:lpstr>
      <vt:lpstr>Scenario 4: Åpne for signering av masterkontrakt</vt:lpstr>
      <vt:lpstr>Brukerveiledning for veiledere</vt:lpstr>
      <vt:lpstr>Scenario 1: Melde interesse for prosjektskisse</vt:lpstr>
      <vt:lpstr>Scenario 1: Melde interesse for prosjektskisse</vt:lpstr>
      <vt:lpstr>Scenario 2: Signering av masterkontrakt</vt:lpstr>
      <vt:lpstr>PowerPoint-presentasj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sikt K2</dc:title>
  <dc:creator>Live Spurkland</dc:creator>
  <cp:lastModifiedBy>Gunhild Raunsgard</cp:lastModifiedBy>
  <cp:revision>704</cp:revision>
  <dcterms:created xsi:type="dcterms:W3CDTF">2020-01-17T07:23:54Z</dcterms:created>
  <dcterms:modified xsi:type="dcterms:W3CDTF">2024-11-29T14:23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15960F5C2AA1C4D93910D018339F05C</vt:lpwstr>
  </property>
  <property fmtid="{D5CDD505-2E9C-101B-9397-08002B2CF9AE}" pid="3" name="GtProjectPhase">
    <vt:lpwstr/>
  </property>
  <property fmtid="{D5CDD505-2E9C-101B-9397-08002B2CF9AE}" pid="4" name="MediaServiceImageTags">
    <vt:lpwstr/>
  </property>
  <property fmtid="{D5CDD505-2E9C-101B-9397-08002B2CF9AE}" pid="5" name="Order">
    <vt:lpwstr>24700.0000000000</vt:lpwstr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ExtendedDescription">
    <vt:lpwstr/>
  </property>
  <property fmtid="{D5CDD505-2E9C-101B-9397-08002B2CF9AE}" pid="10" name="TriggerFlowInfo">
    <vt:lpwstr/>
  </property>
  <property fmtid="{D5CDD505-2E9C-101B-9397-08002B2CF9AE}" pid="11" name="xd_Signature">
    <vt:lpwstr/>
  </property>
</Properties>
</file>